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sldIdLst>
    <p:sldId id="256" r:id="rId2"/>
    <p:sldId id="279" r:id="rId3"/>
    <p:sldId id="565" r:id="rId4"/>
    <p:sldId id="569" r:id="rId5"/>
    <p:sldId id="570" r:id="rId6"/>
    <p:sldId id="571" r:id="rId7"/>
    <p:sldId id="259" r:id="rId8"/>
    <p:sldId id="575" r:id="rId9"/>
    <p:sldId id="573" r:id="rId10"/>
    <p:sldId id="574" r:id="rId11"/>
    <p:sldId id="568" r:id="rId12"/>
    <p:sldId id="578" r:id="rId13"/>
    <p:sldId id="577" r:id="rId14"/>
    <p:sldId id="579" r:id="rId15"/>
    <p:sldId id="580" r:id="rId16"/>
    <p:sldId id="576" r:id="rId17"/>
    <p:sldId id="581" r:id="rId18"/>
    <p:sldId id="582" r:id="rId19"/>
    <p:sldId id="593" r:id="rId20"/>
    <p:sldId id="594" r:id="rId21"/>
    <p:sldId id="595" r:id="rId22"/>
    <p:sldId id="596" r:id="rId23"/>
    <p:sldId id="588" r:id="rId24"/>
    <p:sldId id="597" r:id="rId25"/>
    <p:sldId id="592" r:id="rId26"/>
    <p:sldId id="278" r:id="rId27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565D7DC-C2D0-4620-8043-4AC8C985AD7C}" v="91" dt="2022-11-21T17:45:42.9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64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l Olmo Mosteiro, Aixa" userId="53bcf9b9-77e8-4b0b-99b4-eb96a8a4ffd5" providerId="ADAL" clId="{3565D7DC-C2D0-4620-8043-4AC8C985AD7C}"/>
    <pc:docChg chg="undo custSel addSld delSld modSld sldOrd modMainMaster">
      <pc:chgData name="Del Olmo Mosteiro, Aixa" userId="53bcf9b9-77e8-4b0b-99b4-eb96a8a4ffd5" providerId="ADAL" clId="{3565D7DC-C2D0-4620-8043-4AC8C985AD7C}" dt="2022-11-21T17:46:08.372" v="5240" actId="207"/>
      <pc:docMkLst>
        <pc:docMk/>
      </pc:docMkLst>
      <pc:sldChg chg="addSp delSp modSp mod">
        <pc:chgData name="Del Olmo Mosteiro, Aixa" userId="53bcf9b9-77e8-4b0b-99b4-eb96a8a4ffd5" providerId="ADAL" clId="{3565D7DC-C2D0-4620-8043-4AC8C985AD7C}" dt="2022-11-21T15:31:33.396" v="384" actId="1038"/>
        <pc:sldMkLst>
          <pc:docMk/>
          <pc:sldMk cId="2369112133" sldId="256"/>
        </pc:sldMkLst>
        <pc:spChg chg="add del mod">
          <ac:chgData name="Del Olmo Mosteiro, Aixa" userId="53bcf9b9-77e8-4b0b-99b4-eb96a8a4ffd5" providerId="ADAL" clId="{3565D7DC-C2D0-4620-8043-4AC8C985AD7C}" dt="2022-11-21T15:23:39.613" v="282" actId="478"/>
          <ac:spMkLst>
            <pc:docMk/>
            <pc:sldMk cId="2369112133" sldId="256"/>
            <ac:spMk id="4" creationId="{4F4DE8F4-3E9D-47B4-9F7F-79D1E0136997}"/>
          </ac:spMkLst>
        </pc:spChg>
        <pc:spChg chg="add del mod">
          <ac:chgData name="Del Olmo Mosteiro, Aixa" userId="53bcf9b9-77e8-4b0b-99b4-eb96a8a4ffd5" providerId="ADAL" clId="{3565D7DC-C2D0-4620-8043-4AC8C985AD7C}" dt="2022-11-21T15:23:52.756" v="286" actId="478"/>
          <ac:spMkLst>
            <pc:docMk/>
            <pc:sldMk cId="2369112133" sldId="256"/>
            <ac:spMk id="5" creationId="{F0C16854-618D-4221-A9E9-FE05617CAFAE}"/>
          </ac:spMkLst>
        </pc:spChg>
        <pc:spChg chg="add del mod">
          <ac:chgData name="Del Olmo Mosteiro, Aixa" userId="53bcf9b9-77e8-4b0b-99b4-eb96a8a4ffd5" providerId="ADAL" clId="{3565D7DC-C2D0-4620-8043-4AC8C985AD7C}" dt="2022-11-21T15:25:00.388" v="300" actId="21"/>
          <ac:spMkLst>
            <pc:docMk/>
            <pc:sldMk cId="2369112133" sldId="256"/>
            <ac:spMk id="6" creationId="{21C2730F-6DE8-4AA5-9929-FABC43D2619A}"/>
          </ac:spMkLst>
        </pc:spChg>
        <pc:spChg chg="add del mod">
          <ac:chgData name="Del Olmo Mosteiro, Aixa" userId="53bcf9b9-77e8-4b0b-99b4-eb96a8a4ffd5" providerId="ADAL" clId="{3565D7DC-C2D0-4620-8043-4AC8C985AD7C}" dt="2022-11-21T15:25:00.388" v="300" actId="21"/>
          <ac:spMkLst>
            <pc:docMk/>
            <pc:sldMk cId="2369112133" sldId="256"/>
            <ac:spMk id="13" creationId="{CBD3555C-117D-43FF-B30A-A2A4A969A4D8}"/>
          </ac:spMkLst>
        </pc:spChg>
        <pc:picChg chg="add mod">
          <ac:chgData name="Del Olmo Mosteiro, Aixa" userId="53bcf9b9-77e8-4b0b-99b4-eb96a8a4ffd5" providerId="ADAL" clId="{3565D7DC-C2D0-4620-8043-4AC8C985AD7C}" dt="2022-11-21T15:31:33.396" v="384" actId="1038"/>
          <ac:picMkLst>
            <pc:docMk/>
            <pc:sldMk cId="2369112133" sldId="256"/>
            <ac:picMk id="8" creationId="{D9CACE8D-366C-4668-B92A-65F22740C868}"/>
          </ac:picMkLst>
        </pc:picChg>
        <pc:picChg chg="del">
          <ac:chgData name="Del Olmo Mosteiro, Aixa" userId="53bcf9b9-77e8-4b0b-99b4-eb96a8a4ffd5" providerId="ADAL" clId="{3565D7DC-C2D0-4620-8043-4AC8C985AD7C}" dt="2022-11-21T15:31:15.728" v="364" actId="478"/>
          <ac:picMkLst>
            <pc:docMk/>
            <pc:sldMk cId="2369112133" sldId="256"/>
            <ac:picMk id="9" creationId="{E85F28C6-5B9F-4103-AF6C-3E2A69BFF9B1}"/>
          </ac:picMkLst>
        </pc:picChg>
        <pc:picChg chg="mod">
          <ac:chgData name="Del Olmo Mosteiro, Aixa" userId="53bcf9b9-77e8-4b0b-99b4-eb96a8a4ffd5" providerId="ADAL" clId="{3565D7DC-C2D0-4620-8043-4AC8C985AD7C}" dt="2022-11-21T15:31:33.396" v="384" actId="1038"/>
          <ac:picMkLst>
            <pc:docMk/>
            <pc:sldMk cId="2369112133" sldId="256"/>
            <ac:picMk id="10" creationId="{49DF0C87-ADED-4806-AAB6-6C144336368C}"/>
          </ac:picMkLst>
        </pc:picChg>
      </pc:sldChg>
      <pc:sldChg chg="del">
        <pc:chgData name="Del Olmo Mosteiro, Aixa" userId="53bcf9b9-77e8-4b0b-99b4-eb96a8a4ffd5" providerId="ADAL" clId="{3565D7DC-C2D0-4620-8043-4AC8C985AD7C}" dt="2022-11-21T15:30:37.678" v="359" actId="47"/>
        <pc:sldMkLst>
          <pc:docMk/>
          <pc:sldMk cId="2337023566" sldId="257"/>
        </pc:sldMkLst>
      </pc:sldChg>
      <pc:sldChg chg="del">
        <pc:chgData name="Del Olmo Mosteiro, Aixa" userId="53bcf9b9-77e8-4b0b-99b4-eb96a8a4ffd5" providerId="ADAL" clId="{3565D7DC-C2D0-4620-8043-4AC8C985AD7C}" dt="2022-11-21T15:43:40.067" v="708" actId="47"/>
        <pc:sldMkLst>
          <pc:docMk/>
          <pc:sldMk cId="147210991" sldId="258"/>
        </pc:sldMkLst>
      </pc:sldChg>
      <pc:sldChg chg="addSp delSp modSp mod ord">
        <pc:chgData name="Del Olmo Mosteiro, Aixa" userId="53bcf9b9-77e8-4b0b-99b4-eb96a8a4ffd5" providerId="ADAL" clId="{3565D7DC-C2D0-4620-8043-4AC8C985AD7C}" dt="2022-11-21T15:41:58.255" v="702" actId="20577"/>
        <pc:sldMkLst>
          <pc:docMk/>
          <pc:sldMk cId="2463955631" sldId="259"/>
        </pc:sldMkLst>
        <pc:spChg chg="mod">
          <ac:chgData name="Del Olmo Mosteiro, Aixa" userId="53bcf9b9-77e8-4b0b-99b4-eb96a8a4ffd5" providerId="ADAL" clId="{3565D7DC-C2D0-4620-8043-4AC8C985AD7C}" dt="2022-11-21T15:41:58.255" v="702" actId="20577"/>
          <ac:spMkLst>
            <pc:docMk/>
            <pc:sldMk cId="2463955631" sldId="259"/>
            <ac:spMk id="2" creationId="{B9806C6F-4189-4D30-92F8-74DA904402FF}"/>
          </ac:spMkLst>
        </pc:spChg>
        <pc:spChg chg="mod">
          <ac:chgData name="Del Olmo Mosteiro, Aixa" userId="53bcf9b9-77e8-4b0b-99b4-eb96a8a4ffd5" providerId="ADAL" clId="{3565D7DC-C2D0-4620-8043-4AC8C985AD7C}" dt="2022-11-21T15:40:54.269" v="647" actId="20577"/>
          <ac:spMkLst>
            <pc:docMk/>
            <pc:sldMk cId="2463955631" sldId="259"/>
            <ac:spMk id="3" creationId="{0D4255F1-2953-4143-9C73-C29D2BF9B7B1}"/>
          </ac:spMkLst>
        </pc:spChg>
        <pc:picChg chg="del">
          <ac:chgData name="Del Olmo Mosteiro, Aixa" userId="53bcf9b9-77e8-4b0b-99b4-eb96a8a4ffd5" providerId="ADAL" clId="{3565D7DC-C2D0-4620-8043-4AC8C985AD7C}" dt="2022-11-21T15:38:07.636" v="579" actId="478"/>
          <ac:picMkLst>
            <pc:docMk/>
            <pc:sldMk cId="2463955631" sldId="259"/>
            <ac:picMk id="6" creationId="{09FD7119-B35A-4BB1-A502-6973FA2E61B4}"/>
          </ac:picMkLst>
        </pc:picChg>
        <pc:picChg chg="del">
          <ac:chgData name="Del Olmo Mosteiro, Aixa" userId="53bcf9b9-77e8-4b0b-99b4-eb96a8a4ffd5" providerId="ADAL" clId="{3565D7DC-C2D0-4620-8043-4AC8C985AD7C}" dt="2022-11-21T15:38:07.005" v="578" actId="478"/>
          <ac:picMkLst>
            <pc:docMk/>
            <pc:sldMk cId="2463955631" sldId="259"/>
            <ac:picMk id="7" creationId="{F3B0D7BF-07B9-42A6-A4AE-CCB5523F9BD6}"/>
          </ac:picMkLst>
        </pc:picChg>
        <pc:picChg chg="add mod">
          <ac:chgData name="Del Olmo Mosteiro, Aixa" userId="53bcf9b9-77e8-4b0b-99b4-eb96a8a4ffd5" providerId="ADAL" clId="{3565D7DC-C2D0-4620-8043-4AC8C985AD7C}" dt="2022-11-21T15:38:55.695" v="605"/>
          <ac:picMkLst>
            <pc:docMk/>
            <pc:sldMk cId="2463955631" sldId="259"/>
            <ac:picMk id="9" creationId="{3256AD08-B940-4E1E-83EE-EC0A64AC1DB4}"/>
          </ac:picMkLst>
        </pc:picChg>
        <pc:picChg chg="add mod">
          <ac:chgData name="Del Olmo Mosteiro, Aixa" userId="53bcf9b9-77e8-4b0b-99b4-eb96a8a4ffd5" providerId="ADAL" clId="{3565D7DC-C2D0-4620-8043-4AC8C985AD7C}" dt="2022-11-21T15:38:55.695" v="605"/>
          <ac:picMkLst>
            <pc:docMk/>
            <pc:sldMk cId="2463955631" sldId="259"/>
            <ac:picMk id="11" creationId="{BA8006D8-2CC2-4E6F-A645-7C7859D9BC57}"/>
          </ac:picMkLst>
        </pc:picChg>
      </pc:sldChg>
      <pc:sldChg chg="del ord">
        <pc:chgData name="Del Olmo Mosteiro, Aixa" userId="53bcf9b9-77e8-4b0b-99b4-eb96a8a4ffd5" providerId="ADAL" clId="{3565D7DC-C2D0-4620-8043-4AC8C985AD7C}" dt="2022-11-21T15:41:50.416" v="683" actId="47"/>
        <pc:sldMkLst>
          <pc:docMk/>
          <pc:sldMk cId="599582925" sldId="260"/>
        </pc:sldMkLst>
      </pc:sldChg>
      <pc:sldChg chg="del">
        <pc:chgData name="Del Olmo Mosteiro, Aixa" userId="53bcf9b9-77e8-4b0b-99b4-eb96a8a4ffd5" providerId="ADAL" clId="{3565D7DC-C2D0-4620-8043-4AC8C985AD7C}" dt="2022-11-21T15:37:52.152" v="573" actId="47"/>
        <pc:sldMkLst>
          <pc:docMk/>
          <pc:sldMk cId="2738650106" sldId="261"/>
        </pc:sldMkLst>
      </pc:sldChg>
      <pc:sldChg chg="del">
        <pc:chgData name="Del Olmo Mosteiro, Aixa" userId="53bcf9b9-77e8-4b0b-99b4-eb96a8a4ffd5" providerId="ADAL" clId="{3565D7DC-C2D0-4620-8043-4AC8C985AD7C}" dt="2022-11-21T15:37:55.395" v="574" actId="47"/>
        <pc:sldMkLst>
          <pc:docMk/>
          <pc:sldMk cId="3376872572" sldId="262"/>
        </pc:sldMkLst>
      </pc:sldChg>
      <pc:sldChg chg="del">
        <pc:chgData name="Del Olmo Mosteiro, Aixa" userId="53bcf9b9-77e8-4b0b-99b4-eb96a8a4ffd5" providerId="ADAL" clId="{3565D7DC-C2D0-4620-8043-4AC8C985AD7C}" dt="2022-11-21T15:43:41.477" v="709" actId="47"/>
        <pc:sldMkLst>
          <pc:docMk/>
          <pc:sldMk cId="4119192976" sldId="266"/>
        </pc:sldMkLst>
      </pc:sldChg>
      <pc:sldChg chg="del">
        <pc:chgData name="Del Olmo Mosteiro, Aixa" userId="53bcf9b9-77e8-4b0b-99b4-eb96a8a4ffd5" providerId="ADAL" clId="{3565D7DC-C2D0-4620-8043-4AC8C985AD7C}" dt="2022-11-21T16:51:50.503" v="1959" actId="47"/>
        <pc:sldMkLst>
          <pc:docMk/>
          <pc:sldMk cId="3733366118" sldId="267"/>
        </pc:sldMkLst>
      </pc:sldChg>
      <pc:sldChg chg="del">
        <pc:chgData name="Del Olmo Mosteiro, Aixa" userId="53bcf9b9-77e8-4b0b-99b4-eb96a8a4ffd5" providerId="ADAL" clId="{3565D7DC-C2D0-4620-8043-4AC8C985AD7C}" dt="2022-11-21T16:51:54.350" v="1960" actId="47"/>
        <pc:sldMkLst>
          <pc:docMk/>
          <pc:sldMk cId="125131318" sldId="268"/>
        </pc:sldMkLst>
      </pc:sldChg>
      <pc:sldChg chg="del">
        <pc:chgData name="Del Olmo Mosteiro, Aixa" userId="53bcf9b9-77e8-4b0b-99b4-eb96a8a4ffd5" providerId="ADAL" clId="{3565D7DC-C2D0-4620-8043-4AC8C985AD7C}" dt="2022-11-21T15:47:44.814" v="841" actId="47"/>
        <pc:sldMkLst>
          <pc:docMk/>
          <pc:sldMk cId="2455190440" sldId="270"/>
        </pc:sldMkLst>
      </pc:sldChg>
      <pc:sldChg chg="del">
        <pc:chgData name="Del Olmo Mosteiro, Aixa" userId="53bcf9b9-77e8-4b0b-99b4-eb96a8a4ffd5" providerId="ADAL" clId="{3565D7DC-C2D0-4620-8043-4AC8C985AD7C}" dt="2022-11-21T16:51:24.909" v="1953" actId="47"/>
        <pc:sldMkLst>
          <pc:docMk/>
          <pc:sldMk cId="47216703" sldId="271"/>
        </pc:sldMkLst>
      </pc:sldChg>
      <pc:sldChg chg="del">
        <pc:chgData name="Del Olmo Mosteiro, Aixa" userId="53bcf9b9-77e8-4b0b-99b4-eb96a8a4ffd5" providerId="ADAL" clId="{3565D7DC-C2D0-4620-8043-4AC8C985AD7C}" dt="2022-11-21T16:51:48.363" v="1958" actId="47"/>
        <pc:sldMkLst>
          <pc:docMk/>
          <pc:sldMk cId="427647054" sldId="272"/>
        </pc:sldMkLst>
      </pc:sldChg>
      <pc:sldChg chg="del">
        <pc:chgData name="Del Olmo Mosteiro, Aixa" userId="53bcf9b9-77e8-4b0b-99b4-eb96a8a4ffd5" providerId="ADAL" clId="{3565D7DC-C2D0-4620-8043-4AC8C985AD7C}" dt="2022-11-21T15:47:38.190" v="840" actId="47"/>
        <pc:sldMkLst>
          <pc:docMk/>
          <pc:sldMk cId="435996197" sldId="273"/>
        </pc:sldMkLst>
      </pc:sldChg>
      <pc:sldChg chg="del">
        <pc:chgData name="Del Olmo Mosteiro, Aixa" userId="53bcf9b9-77e8-4b0b-99b4-eb96a8a4ffd5" providerId="ADAL" clId="{3565D7DC-C2D0-4620-8043-4AC8C985AD7C}" dt="2022-11-21T16:51:31.062" v="1954" actId="47"/>
        <pc:sldMkLst>
          <pc:docMk/>
          <pc:sldMk cId="1200428708" sldId="274"/>
        </pc:sldMkLst>
      </pc:sldChg>
      <pc:sldChg chg="del">
        <pc:chgData name="Del Olmo Mosteiro, Aixa" userId="53bcf9b9-77e8-4b0b-99b4-eb96a8a4ffd5" providerId="ADAL" clId="{3565D7DC-C2D0-4620-8043-4AC8C985AD7C}" dt="2022-11-21T15:37:57.997" v="575" actId="47"/>
        <pc:sldMkLst>
          <pc:docMk/>
          <pc:sldMk cId="2919432448" sldId="276"/>
        </pc:sldMkLst>
      </pc:sldChg>
      <pc:sldChg chg="addSp delSp modSp mod">
        <pc:chgData name="Del Olmo Mosteiro, Aixa" userId="53bcf9b9-77e8-4b0b-99b4-eb96a8a4ffd5" providerId="ADAL" clId="{3565D7DC-C2D0-4620-8043-4AC8C985AD7C}" dt="2022-11-21T15:43:31.523" v="707"/>
        <pc:sldMkLst>
          <pc:docMk/>
          <pc:sldMk cId="2266785105" sldId="278"/>
        </pc:sldMkLst>
        <pc:picChg chg="del">
          <ac:chgData name="Del Olmo Mosteiro, Aixa" userId="53bcf9b9-77e8-4b0b-99b4-eb96a8a4ffd5" providerId="ADAL" clId="{3565D7DC-C2D0-4620-8043-4AC8C985AD7C}" dt="2022-11-21T15:43:22.682" v="706" actId="478"/>
          <ac:picMkLst>
            <pc:docMk/>
            <pc:sldMk cId="2266785105" sldId="278"/>
            <ac:picMk id="6" creationId="{09FD7119-B35A-4BB1-A502-6973FA2E61B4}"/>
          </ac:picMkLst>
        </pc:picChg>
        <pc:picChg chg="del">
          <ac:chgData name="Del Olmo Mosteiro, Aixa" userId="53bcf9b9-77e8-4b0b-99b4-eb96a8a4ffd5" providerId="ADAL" clId="{3565D7DC-C2D0-4620-8043-4AC8C985AD7C}" dt="2022-11-21T15:43:22.682" v="706" actId="478"/>
          <ac:picMkLst>
            <pc:docMk/>
            <pc:sldMk cId="2266785105" sldId="278"/>
            <ac:picMk id="7" creationId="{F3B0D7BF-07B9-42A6-A4AE-CCB5523F9BD6}"/>
          </ac:picMkLst>
        </pc:picChg>
        <pc:picChg chg="add mod">
          <ac:chgData name="Del Olmo Mosteiro, Aixa" userId="53bcf9b9-77e8-4b0b-99b4-eb96a8a4ffd5" providerId="ADAL" clId="{3565D7DC-C2D0-4620-8043-4AC8C985AD7C}" dt="2022-11-21T15:43:31.523" v="707"/>
          <ac:picMkLst>
            <pc:docMk/>
            <pc:sldMk cId="2266785105" sldId="278"/>
            <ac:picMk id="9" creationId="{1B5D3D80-648C-4778-8ECA-D8716831EE64}"/>
          </ac:picMkLst>
        </pc:picChg>
        <pc:picChg chg="add mod">
          <ac:chgData name="Del Olmo Mosteiro, Aixa" userId="53bcf9b9-77e8-4b0b-99b4-eb96a8a4ffd5" providerId="ADAL" clId="{3565D7DC-C2D0-4620-8043-4AC8C985AD7C}" dt="2022-11-21T15:43:31.523" v="707"/>
          <ac:picMkLst>
            <pc:docMk/>
            <pc:sldMk cId="2266785105" sldId="278"/>
            <ac:picMk id="11" creationId="{9E56E849-7108-4FAB-9869-7EF86C8D31D5}"/>
          </ac:picMkLst>
        </pc:picChg>
      </pc:sldChg>
      <pc:sldChg chg="addSp modSp mod">
        <pc:chgData name="Del Olmo Mosteiro, Aixa" userId="53bcf9b9-77e8-4b0b-99b4-eb96a8a4ffd5" providerId="ADAL" clId="{3565D7DC-C2D0-4620-8043-4AC8C985AD7C}" dt="2022-11-21T15:38:33.839" v="601" actId="1036"/>
        <pc:sldMkLst>
          <pc:docMk/>
          <pc:sldMk cId="3464206690" sldId="279"/>
        </pc:sldMkLst>
        <pc:spChg chg="mod">
          <ac:chgData name="Del Olmo Mosteiro, Aixa" userId="53bcf9b9-77e8-4b0b-99b4-eb96a8a4ffd5" providerId="ADAL" clId="{3565D7DC-C2D0-4620-8043-4AC8C985AD7C}" dt="2022-11-21T15:38:33.839" v="601" actId="1036"/>
          <ac:spMkLst>
            <pc:docMk/>
            <pc:sldMk cId="3464206690" sldId="279"/>
            <ac:spMk id="6" creationId="{B58FD87F-387F-47AF-A193-50B746042958}"/>
          </ac:spMkLst>
        </pc:spChg>
        <pc:spChg chg="mod">
          <ac:chgData name="Del Olmo Mosteiro, Aixa" userId="53bcf9b9-77e8-4b0b-99b4-eb96a8a4ffd5" providerId="ADAL" clId="{3565D7DC-C2D0-4620-8043-4AC8C985AD7C}" dt="2022-11-21T15:38:25.832" v="581" actId="2711"/>
          <ac:spMkLst>
            <pc:docMk/>
            <pc:sldMk cId="3464206690" sldId="279"/>
            <ac:spMk id="7" creationId="{4ED275BA-1173-46D2-81E3-73E6A9090CA6}"/>
          </ac:spMkLst>
        </pc:spChg>
        <pc:picChg chg="add mod">
          <ac:chgData name="Del Olmo Mosteiro, Aixa" userId="53bcf9b9-77e8-4b0b-99b4-eb96a8a4ffd5" providerId="ADAL" clId="{3565D7DC-C2D0-4620-8043-4AC8C985AD7C}" dt="2022-11-21T15:31:37.880" v="385"/>
          <ac:picMkLst>
            <pc:docMk/>
            <pc:sldMk cId="3464206690" sldId="279"/>
            <ac:picMk id="8" creationId="{AEDFE40F-C5DF-45DE-8AE5-482FA22A6DEE}"/>
          </ac:picMkLst>
        </pc:picChg>
        <pc:picChg chg="add mod">
          <ac:chgData name="Del Olmo Mosteiro, Aixa" userId="53bcf9b9-77e8-4b0b-99b4-eb96a8a4ffd5" providerId="ADAL" clId="{3565D7DC-C2D0-4620-8043-4AC8C985AD7C}" dt="2022-11-21T15:31:37.880" v="385"/>
          <ac:picMkLst>
            <pc:docMk/>
            <pc:sldMk cId="3464206690" sldId="279"/>
            <ac:picMk id="9" creationId="{D8B3B0D5-031A-4B3E-AB12-79F0D4A38257}"/>
          </ac:picMkLst>
        </pc:picChg>
      </pc:sldChg>
      <pc:sldChg chg="addSp modSp mod">
        <pc:chgData name="Del Olmo Mosteiro, Aixa" userId="53bcf9b9-77e8-4b0b-99b4-eb96a8a4ffd5" providerId="ADAL" clId="{3565D7DC-C2D0-4620-8043-4AC8C985AD7C}" dt="2022-11-21T15:38:40.763" v="602" actId="2711"/>
        <pc:sldMkLst>
          <pc:docMk/>
          <pc:sldMk cId="3345594063" sldId="565"/>
        </pc:sldMkLst>
        <pc:spChg chg="mod">
          <ac:chgData name="Del Olmo Mosteiro, Aixa" userId="53bcf9b9-77e8-4b0b-99b4-eb96a8a4ffd5" providerId="ADAL" clId="{3565D7DC-C2D0-4620-8043-4AC8C985AD7C}" dt="2022-11-21T15:15:48.974" v="187" actId="207"/>
          <ac:spMkLst>
            <pc:docMk/>
            <pc:sldMk cId="3345594063" sldId="565"/>
            <ac:spMk id="5" creationId="{00000000-0000-0000-0000-000000000000}"/>
          </ac:spMkLst>
        </pc:spChg>
        <pc:spChg chg="mod">
          <ac:chgData name="Del Olmo Mosteiro, Aixa" userId="53bcf9b9-77e8-4b0b-99b4-eb96a8a4ffd5" providerId="ADAL" clId="{3565D7DC-C2D0-4620-8043-4AC8C985AD7C}" dt="2022-11-21T15:38:40.763" v="602" actId="2711"/>
          <ac:spMkLst>
            <pc:docMk/>
            <pc:sldMk cId="3345594063" sldId="565"/>
            <ac:spMk id="41" creationId="{00000000-0000-0000-0000-000000000000}"/>
          </ac:spMkLst>
        </pc:spChg>
        <pc:spChg chg="mod">
          <ac:chgData name="Del Olmo Mosteiro, Aixa" userId="53bcf9b9-77e8-4b0b-99b4-eb96a8a4ffd5" providerId="ADAL" clId="{3565D7DC-C2D0-4620-8043-4AC8C985AD7C}" dt="2022-11-21T15:16:56.828" v="207" actId="207"/>
          <ac:spMkLst>
            <pc:docMk/>
            <pc:sldMk cId="3345594063" sldId="565"/>
            <ac:spMk id="42" creationId="{00000000-0000-0000-0000-000000000000}"/>
          </ac:spMkLst>
        </pc:spChg>
        <pc:picChg chg="add mod">
          <ac:chgData name="Del Olmo Mosteiro, Aixa" userId="53bcf9b9-77e8-4b0b-99b4-eb96a8a4ffd5" providerId="ADAL" clId="{3565D7DC-C2D0-4620-8043-4AC8C985AD7C}" dt="2022-11-21T15:31:40.949" v="386"/>
          <ac:picMkLst>
            <pc:docMk/>
            <pc:sldMk cId="3345594063" sldId="565"/>
            <ac:picMk id="23" creationId="{820A3EA6-BE7D-4CA3-BAC2-CB0545DF4DF6}"/>
          </ac:picMkLst>
        </pc:picChg>
        <pc:picChg chg="add mod">
          <ac:chgData name="Del Olmo Mosteiro, Aixa" userId="53bcf9b9-77e8-4b0b-99b4-eb96a8a4ffd5" providerId="ADAL" clId="{3565D7DC-C2D0-4620-8043-4AC8C985AD7C}" dt="2022-11-21T15:31:40.949" v="386"/>
          <ac:picMkLst>
            <pc:docMk/>
            <pc:sldMk cId="3345594063" sldId="565"/>
            <ac:picMk id="24" creationId="{22153E41-EA70-4596-801F-80FF3FA0F118}"/>
          </ac:picMkLst>
        </pc:picChg>
      </pc:sldChg>
      <pc:sldChg chg="del">
        <pc:chgData name="Del Olmo Mosteiro, Aixa" userId="53bcf9b9-77e8-4b0b-99b4-eb96a8a4ffd5" providerId="ADAL" clId="{3565D7DC-C2D0-4620-8043-4AC8C985AD7C}" dt="2022-11-21T15:41:04.332" v="648" actId="47"/>
        <pc:sldMkLst>
          <pc:docMk/>
          <pc:sldMk cId="138178407" sldId="566"/>
        </pc:sldMkLst>
      </pc:sldChg>
      <pc:sldChg chg="addSp delSp modSp mod">
        <pc:chgData name="Del Olmo Mosteiro, Aixa" userId="53bcf9b9-77e8-4b0b-99b4-eb96a8a4ffd5" providerId="ADAL" clId="{3565D7DC-C2D0-4620-8043-4AC8C985AD7C}" dt="2022-11-21T17:14:55.250" v="3311" actId="20577"/>
        <pc:sldMkLst>
          <pc:docMk/>
          <pc:sldMk cId="1956897407" sldId="568"/>
        </pc:sldMkLst>
        <pc:spChg chg="add mod">
          <ac:chgData name="Del Olmo Mosteiro, Aixa" userId="53bcf9b9-77e8-4b0b-99b4-eb96a8a4ffd5" providerId="ADAL" clId="{3565D7DC-C2D0-4620-8043-4AC8C985AD7C}" dt="2022-11-21T17:13:15.483" v="3061" actId="1036"/>
          <ac:spMkLst>
            <pc:docMk/>
            <pc:sldMk cId="1956897407" sldId="568"/>
            <ac:spMk id="2" creationId="{399FE0A1-FCE3-4693-87E5-78A521F903A1}"/>
          </ac:spMkLst>
        </pc:spChg>
        <pc:spChg chg="add del mod">
          <ac:chgData name="Del Olmo Mosteiro, Aixa" userId="53bcf9b9-77e8-4b0b-99b4-eb96a8a4ffd5" providerId="ADAL" clId="{3565D7DC-C2D0-4620-8043-4AC8C985AD7C}" dt="2022-11-21T17:06:23.976" v="2475" actId="478"/>
          <ac:spMkLst>
            <pc:docMk/>
            <pc:sldMk cId="1956897407" sldId="568"/>
            <ac:spMk id="21" creationId="{BC4729DC-64CD-49C6-B7B1-317B38806BCB}"/>
          </ac:spMkLst>
        </pc:spChg>
        <pc:spChg chg="add del mod">
          <ac:chgData name="Del Olmo Mosteiro, Aixa" userId="53bcf9b9-77e8-4b0b-99b4-eb96a8a4ffd5" providerId="ADAL" clId="{3565D7DC-C2D0-4620-8043-4AC8C985AD7C}" dt="2022-11-21T17:08:32.744" v="2626" actId="478"/>
          <ac:spMkLst>
            <pc:docMk/>
            <pc:sldMk cId="1956897407" sldId="568"/>
            <ac:spMk id="23" creationId="{F125B91C-2AE8-4133-A71F-EAF40225D873}"/>
          </ac:spMkLst>
        </pc:spChg>
        <pc:spChg chg="add del mod">
          <ac:chgData name="Del Olmo Mosteiro, Aixa" userId="53bcf9b9-77e8-4b0b-99b4-eb96a8a4ffd5" providerId="ADAL" clId="{3565D7DC-C2D0-4620-8043-4AC8C985AD7C}" dt="2022-11-21T17:12:04.554" v="3044" actId="478"/>
          <ac:spMkLst>
            <pc:docMk/>
            <pc:sldMk cId="1956897407" sldId="568"/>
            <ac:spMk id="24" creationId="{458312C0-CCBF-4BB3-BFD1-A178049C2B1D}"/>
          </ac:spMkLst>
        </pc:spChg>
        <pc:spChg chg="add mod">
          <ac:chgData name="Del Olmo Mosteiro, Aixa" userId="53bcf9b9-77e8-4b0b-99b4-eb96a8a4ffd5" providerId="ADAL" clId="{3565D7DC-C2D0-4620-8043-4AC8C985AD7C}" dt="2022-11-21T17:06:16.560" v="2474" actId="113"/>
          <ac:spMkLst>
            <pc:docMk/>
            <pc:sldMk cId="1956897407" sldId="568"/>
            <ac:spMk id="25" creationId="{B445DD52-D66D-4B93-B1F1-D6FA28484E5D}"/>
          </ac:spMkLst>
        </pc:spChg>
        <pc:spChg chg="add mod">
          <ac:chgData name="Del Olmo Mosteiro, Aixa" userId="53bcf9b9-77e8-4b0b-99b4-eb96a8a4ffd5" providerId="ADAL" clId="{3565D7DC-C2D0-4620-8043-4AC8C985AD7C}" dt="2022-11-21T17:13:15.483" v="3061" actId="1036"/>
          <ac:spMkLst>
            <pc:docMk/>
            <pc:sldMk cId="1956897407" sldId="568"/>
            <ac:spMk id="26" creationId="{68EC4232-2D4F-49DA-BCCE-E2273D764891}"/>
          </ac:spMkLst>
        </pc:spChg>
        <pc:spChg chg="add mod">
          <ac:chgData name="Del Olmo Mosteiro, Aixa" userId="53bcf9b9-77e8-4b0b-99b4-eb96a8a4ffd5" providerId="ADAL" clId="{3565D7DC-C2D0-4620-8043-4AC8C985AD7C}" dt="2022-11-21T17:13:15.483" v="3061" actId="1036"/>
          <ac:spMkLst>
            <pc:docMk/>
            <pc:sldMk cId="1956897407" sldId="568"/>
            <ac:spMk id="27" creationId="{4BC1A9F5-AC92-4534-9B45-363548062B5C}"/>
          </ac:spMkLst>
        </pc:spChg>
        <pc:spChg chg="add mod">
          <ac:chgData name="Del Olmo Mosteiro, Aixa" userId="53bcf9b9-77e8-4b0b-99b4-eb96a8a4ffd5" providerId="ADAL" clId="{3565D7DC-C2D0-4620-8043-4AC8C985AD7C}" dt="2022-11-21T17:13:15.483" v="3061" actId="1036"/>
          <ac:spMkLst>
            <pc:docMk/>
            <pc:sldMk cId="1956897407" sldId="568"/>
            <ac:spMk id="28" creationId="{78114032-A588-49B6-B7AD-E1A3D7D365CC}"/>
          </ac:spMkLst>
        </pc:spChg>
        <pc:spChg chg="add mod">
          <ac:chgData name="Del Olmo Mosteiro, Aixa" userId="53bcf9b9-77e8-4b0b-99b4-eb96a8a4ffd5" providerId="ADAL" clId="{3565D7DC-C2D0-4620-8043-4AC8C985AD7C}" dt="2022-11-21T17:13:15.483" v="3061" actId="1036"/>
          <ac:spMkLst>
            <pc:docMk/>
            <pc:sldMk cId="1956897407" sldId="568"/>
            <ac:spMk id="29" creationId="{253B2C97-368D-41C0-888E-55ED7EBD532D}"/>
          </ac:spMkLst>
        </pc:spChg>
        <pc:spChg chg="add mod">
          <ac:chgData name="Del Olmo Mosteiro, Aixa" userId="53bcf9b9-77e8-4b0b-99b4-eb96a8a4ffd5" providerId="ADAL" clId="{3565D7DC-C2D0-4620-8043-4AC8C985AD7C}" dt="2022-11-21T17:11:52.566" v="3040" actId="14100"/>
          <ac:spMkLst>
            <pc:docMk/>
            <pc:sldMk cId="1956897407" sldId="568"/>
            <ac:spMk id="30" creationId="{E1E01046-7104-4F9A-9B06-F6F7775E0380}"/>
          </ac:spMkLst>
        </pc:spChg>
        <pc:spChg chg="add mod">
          <ac:chgData name="Del Olmo Mosteiro, Aixa" userId="53bcf9b9-77e8-4b0b-99b4-eb96a8a4ffd5" providerId="ADAL" clId="{3565D7DC-C2D0-4620-8043-4AC8C985AD7C}" dt="2022-11-21T17:14:55.250" v="3311" actId="20577"/>
          <ac:spMkLst>
            <pc:docMk/>
            <pc:sldMk cId="1956897407" sldId="568"/>
            <ac:spMk id="31" creationId="{BD2EF740-3665-4635-813D-F5A0361D11E8}"/>
          </ac:spMkLst>
        </pc:spChg>
        <pc:spChg chg="add mod">
          <ac:chgData name="Del Olmo Mosteiro, Aixa" userId="53bcf9b9-77e8-4b0b-99b4-eb96a8a4ffd5" providerId="ADAL" clId="{3565D7DC-C2D0-4620-8043-4AC8C985AD7C}" dt="2022-11-21T17:13:15.483" v="3061" actId="1036"/>
          <ac:spMkLst>
            <pc:docMk/>
            <pc:sldMk cId="1956897407" sldId="568"/>
            <ac:spMk id="32" creationId="{16E1B68C-279D-4915-A27C-ECA8FD6D9DF7}"/>
          </ac:spMkLst>
        </pc:spChg>
        <pc:spChg chg="mod">
          <ac:chgData name="Del Olmo Mosteiro, Aixa" userId="53bcf9b9-77e8-4b0b-99b4-eb96a8a4ffd5" providerId="ADAL" clId="{3565D7DC-C2D0-4620-8043-4AC8C985AD7C}" dt="2022-11-21T17:01:20.214" v="2186" actId="20577"/>
          <ac:spMkLst>
            <pc:docMk/>
            <pc:sldMk cId="1956897407" sldId="568"/>
            <ac:spMk id="41" creationId="{00000000-0000-0000-0000-000000000000}"/>
          </ac:spMkLst>
        </pc:spChg>
        <pc:spChg chg="mod ord">
          <ac:chgData name="Del Olmo Mosteiro, Aixa" userId="53bcf9b9-77e8-4b0b-99b4-eb96a8a4ffd5" providerId="ADAL" clId="{3565D7DC-C2D0-4620-8043-4AC8C985AD7C}" dt="2022-11-21T17:13:15.483" v="3061" actId="1036"/>
          <ac:spMkLst>
            <pc:docMk/>
            <pc:sldMk cId="1956897407" sldId="568"/>
            <ac:spMk id="85" creationId="{731F8485-3F42-4217-B44D-EEFC7E163A3D}"/>
          </ac:spMkLst>
        </pc:spChg>
        <pc:grpChg chg="mod ord">
          <ac:chgData name="Del Olmo Mosteiro, Aixa" userId="53bcf9b9-77e8-4b0b-99b4-eb96a8a4ffd5" providerId="ADAL" clId="{3565D7DC-C2D0-4620-8043-4AC8C985AD7C}" dt="2022-11-21T17:13:08.954" v="3050" actId="1076"/>
          <ac:grpSpMkLst>
            <pc:docMk/>
            <pc:sldMk cId="1956897407" sldId="568"/>
            <ac:grpSpMk id="150" creationId="{8022A045-6247-4923-AC1F-981413470ED0}"/>
          </ac:grpSpMkLst>
        </pc:grpChg>
        <pc:picChg chg="mod">
          <ac:chgData name="Del Olmo Mosteiro, Aixa" userId="53bcf9b9-77e8-4b0b-99b4-eb96a8a4ffd5" providerId="ADAL" clId="{3565D7DC-C2D0-4620-8043-4AC8C985AD7C}" dt="2022-11-21T17:13:11.614" v="3051" actId="1076"/>
          <ac:picMkLst>
            <pc:docMk/>
            <pc:sldMk cId="1956897407" sldId="568"/>
            <ac:picMk id="3" creationId="{080C076A-F536-4939-B59E-092A09DDCAEB}"/>
          </ac:picMkLst>
        </pc:picChg>
        <pc:picChg chg="mod">
          <ac:chgData name="Del Olmo Mosteiro, Aixa" userId="53bcf9b9-77e8-4b0b-99b4-eb96a8a4ffd5" providerId="ADAL" clId="{3565D7DC-C2D0-4620-8043-4AC8C985AD7C}" dt="2022-11-21T15:32:11.962" v="396" actId="1076"/>
          <ac:picMkLst>
            <pc:docMk/>
            <pc:sldMk cId="1956897407" sldId="568"/>
            <ac:picMk id="6" creationId="{AF89D9E3-9F85-4B3F-B8C4-84DB18B09A6F}"/>
          </ac:picMkLst>
        </pc:picChg>
        <pc:picChg chg="add mod">
          <ac:chgData name="Del Olmo Mosteiro, Aixa" userId="53bcf9b9-77e8-4b0b-99b4-eb96a8a4ffd5" providerId="ADAL" clId="{3565D7DC-C2D0-4620-8043-4AC8C985AD7C}" dt="2022-11-21T15:32:07.384" v="395" actId="1076"/>
          <ac:picMkLst>
            <pc:docMk/>
            <pc:sldMk cId="1956897407" sldId="568"/>
            <ac:picMk id="18" creationId="{248DC733-C2E7-4463-83F4-CA7FAF4F18C5}"/>
          </ac:picMkLst>
        </pc:picChg>
        <pc:picChg chg="add mod">
          <ac:chgData name="Del Olmo Mosteiro, Aixa" userId="53bcf9b9-77e8-4b0b-99b4-eb96a8a4ffd5" providerId="ADAL" clId="{3565D7DC-C2D0-4620-8043-4AC8C985AD7C}" dt="2022-11-21T15:31:58.670" v="393" actId="1035"/>
          <ac:picMkLst>
            <pc:docMk/>
            <pc:sldMk cId="1956897407" sldId="568"/>
            <ac:picMk id="19" creationId="{D9C4A834-6BB9-4344-92C4-8CDCE3CDB67B}"/>
          </ac:picMkLst>
        </pc:picChg>
        <pc:cxnChg chg="del mod">
          <ac:chgData name="Del Olmo Mosteiro, Aixa" userId="53bcf9b9-77e8-4b0b-99b4-eb96a8a4ffd5" providerId="ADAL" clId="{3565D7DC-C2D0-4620-8043-4AC8C985AD7C}" dt="2022-11-21T17:00:03.037" v="2177" actId="478"/>
          <ac:cxnSpMkLst>
            <pc:docMk/>
            <pc:sldMk cId="1956897407" sldId="568"/>
            <ac:cxnSpMk id="22" creationId="{C909963C-79BE-4A6F-989F-11773BA9F5DF}"/>
          </ac:cxnSpMkLst>
        </pc:cxnChg>
      </pc:sldChg>
      <pc:sldChg chg="addSp modSp add mod">
        <pc:chgData name="Del Olmo Mosteiro, Aixa" userId="53bcf9b9-77e8-4b0b-99b4-eb96a8a4ffd5" providerId="ADAL" clId="{3565D7DC-C2D0-4620-8043-4AC8C985AD7C}" dt="2022-11-21T15:38:45.544" v="603" actId="2711"/>
        <pc:sldMkLst>
          <pc:docMk/>
          <pc:sldMk cId="6039016" sldId="569"/>
        </pc:sldMkLst>
        <pc:spChg chg="mod">
          <ac:chgData name="Del Olmo Mosteiro, Aixa" userId="53bcf9b9-77e8-4b0b-99b4-eb96a8a4ffd5" providerId="ADAL" clId="{3565D7DC-C2D0-4620-8043-4AC8C985AD7C}" dt="2022-11-21T15:21:19.710" v="270" actId="27636"/>
          <ac:spMkLst>
            <pc:docMk/>
            <pc:sldMk cId="6039016" sldId="569"/>
            <ac:spMk id="5" creationId="{00000000-0000-0000-0000-000000000000}"/>
          </ac:spMkLst>
        </pc:spChg>
        <pc:spChg chg="mod">
          <ac:chgData name="Del Olmo Mosteiro, Aixa" userId="53bcf9b9-77e8-4b0b-99b4-eb96a8a4ffd5" providerId="ADAL" clId="{3565D7DC-C2D0-4620-8043-4AC8C985AD7C}" dt="2022-11-21T15:38:45.544" v="603" actId="2711"/>
          <ac:spMkLst>
            <pc:docMk/>
            <pc:sldMk cId="6039016" sldId="569"/>
            <ac:spMk id="41" creationId="{00000000-0000-0000-0000-000000000000}"/>
          </ac:spMkLst>
        </pc:spChg>
        <pc:spChg chg="mod">
          <ac:chgData name="Del Olmo Mosteiro, Aixa" userId="53bcf9b9-77e8-4b0b-99b4-eb96a8a4ffd5" providerId="ADAL" clId="{3565D7DC-C2D0-4620-8043-4AC8C985AD7C}" dt="2022-11-21T15:20:52.974" v="268" actId="179"/>
          <ac:spMkLst>
            <pc:docMk/>
            <pc:sldMk cId="6039016" sldId="569"/>
            <ac:spMk id="42" creationId="{00000000-0000-0000-0000-000000000000}"/>
          </ac:spMkLst>
        </pc:spChg>
        <pc:picChg chg="add mod">
          <ac:chgData name="Del Olmo Mosteiro, Aixa" userId="53bcf9b9-77e8-4b0b-99b4-eb96a8a4ffd5" providerId="ADAL" clId="{3565D7DC-C2D0-4620-8043-4AC8C985AD7C}" dt="2022-11-21T15:31:43.005" v="387"/>
          <ac:picMkLst>
            <pc:docMk/>
            <pc:sldMk cId="6039016" sldId="569"/>
            <ac:picMk id="23" creationId="{AF4C6ECE-246D-4A6F-88E7-138B07ED37CD}"/>
          </ac:picMkLst>
        </pc:picChg>
        <pc:picChg chg="add mod">
          <ac:chgData name="Del Olmo Mosteiro, Aixa" userId="53bcf9b9-77e8-4b0b-99b4-eb96a8a4ffd5" providerId="ADAL" clId="{3565D7DC-C2D0-4620-8043-4AC8C985AD7C}" dt="2022-11-21T15:31:43.005" v="387"/>
          <ac:picMkLst>
            <pc:docMk/>
            <pc:sldMk cId="6039016" sldId="569"/>
            <ac:picMk id="24" creationId="{FB85C10A-D891-4CAF-A32D-191C80000F2B}"/>
          </ac:picMkLst>
        </pc:picChg>
      </pc:sldChg>
      <pc:sldChg chg="addSp delSp modSp new mod modClrScheme chgLayout">
        <pc:chgData name="Del Olmo Mosteiro, Aixa" userId="53bcf9b9-77e8-4b0b-99b4-eb96a8a4ffd5" providerId="ADAL" clId="{3565D7DC-C2D0-4620-8043-4AC8C985AD7C}" dt="2022-11-21T15:31:45.310" v="388"/>
        <pc:sldMkLst>
          <pc:docMk/>
          <pc:sldMk cId="1341643037" sldId="570"/>
        </pc:sldMkLst>
        <pc:spChg chg="del">
          <ac:chgData name="Del Olmo Mosteiro, Aixa" userId="53bcf9b9-77e8-4b0b-99b4-eb96a8a4ffd5" providerId="ADAL" clId="{3565D7DC-C2D0-4620-8043-4AC8C985AD7C}" dt="2022-11-21T15:26:50.486" v="334" actId="700"/>
          <ac:spMkLst>
            <pc:docMk/>
            <pc:sldMk cId="1341643037" sldId="570"/>
            <ac:spMk id="2" creationId="{B8DC2438-BB1D-4BA4-BF69-79A18AD1F442}"/>
          </ac:spMkLst>
        </pc:spChg>
        <pc:spChg chg="del">
          <ac:chgData name="Del Olmo Mosteiro, Aixa" userId="53bcf9b9-77e8-4b0b-99b4-eb96a8a4ffd5" providerId="ADAL" clId="{3565D7DC-C2D0-4620-8043-4AC8C985AD7C}" dt="2022-11-21T15:26:50.486" v="334" actId="700"/>
          <ac:spMkLst>
            <pc:docMk/>
            <pc:sldMk cId="1341643037" sldId="570"/>
            <ac:spMk id="3" creationId="{34F022ED-15AB-4AC2-8C4F-42D32FE5089F}"/>
          </ac:spMkLst>
        </pc:spChg>
        <pc:spChg chg="add del mod">
          <ac:chgData name="Del Olmo Mosteiro, Aixa" userId="53bcf9b9-77e8-4b0b-99b4-eb96a8a4ffd5" providerId="ADAL" clId="{3565D7DC-C2D0-4620-8043-4AC8C985AD7C}" dt="2022-11-21T15:26:52.757" v="335" actId="478"/>
          <ac:spMkLst>
            <pc:docMk/>
            <pc:sldMk cId="1341643037" sldId="570"/>
            <ac:spMk id="4" creationId="{7CA6AF7B-3B94-4629-A9DE-7C84ECFAFA5B}"/>
          </ac:spMkLst>
        </pc:spChg>
        <pc:spChg chg="mod">
          <ac:chgData name="Del Olmo Mosteiro, Aixa" userId="53bcf9b9-77e8-4b0b-99b4-eb96a8a4ffd5" providerId="ADAL" clId="{3565D7DC-C2D0-4620-8043-4AC8C985AD7C}" dt="2022-11-21T15:27:06.734" v="339" actId="1076"/>
          <ac:spMkLst>
            <pc:docMk/>
            <pc:sldMk cId="1341643037" sldId="570"/>
            <ac:spMk id="6" creationId="{69992E14-5D0C-47BE-AD42-A2BAB4AB47AF}"/>
          </ac:spMkLst>
        </pc:spChg>
        <pc:spChg chg="mod">
          <ac:chgData name="Del Olmo Mosteiro, Aixa" userId="53bcf9b9-77e8-4b0b-99b4-eb96a8a4ffd5" providerId="ADAL" clId="{3565D7DC-C2D0-4620-8043-4AC8C985AD7C}" dt="2022-11-21T15:27:06.734" v="339" actId="1076"/>
          <ac:spMkLst>
            <pc:docMk/>
            <pc:sldMk cId="1341643037" sldId="570"/>
            <ac:spMk id="7" creationId="{56857A93-8DD8-48BD-A083-A3249160E9DC}"/>
          </ac:spMkLst>
        </pc:spChg>
        <pc:spChg chg="mod">
          <ac:chgData name="Del Olmo Mosteiro, Aixa" userId="53bcf9b9-77e8-4b0b-99b4-eb96a8a4ffd5" providerId="ADAL" clId="{3565D7DC-C2D0-4620-8043-4AC8C985AD7C}" dt="2022-11-21T15:27:06.734" v="339" actId="1076"/>
          <ac:spMkLst>
            <pc:docMk/>
            <pc:sldMk cId="1341643037" sldId="570"/>
            <ac:spMk id="8" creationId="{D0BD7736-6784-40B2-B9B8-90AFF0C7DAB0}"/>
          </ac:spMkLst>
        </pc:spChg>
        <pc:spChg chg="mod">
          <ac:chgData name="Del Olmo Mosteiro, Aixa" userId="53bcf9b9-77e8-4b0b-99b4-eb96a8a4ffd5" providerId="ADAL" clId="{3565D7DC-C2D0-4620-8043-4AC8C985AD7C}" dt="2022-11-21T15:27:06.734" v="339" actId="1076"/>
          <ac:spMkLst>
            <pc:docMk/>
            <pc:sldMk cId="1341643037" sldId="570"/>
            <ac:spMk id="9" creationId="{70541F79-8E09-44FC-8FF9-86816E781C68}"/>
          </ac:spMkLst>
        </pc:spChg>
        <pc:spChg chg="mod">
          <ac:chgData name="Del Olmo Mosteiro, Aixa" userId="53bcf9b9-77e8-4b0b-99b4-eb96a8a4ffd5" providerId="ADAL" clId="{3565D7DC-C2D0-4620-8043-4AC8C985AD7C}" dt="2022-11-21T15:27:06.734" v="339" actId="1076"/>
          <ac:spMkLst>
            <pc:docMk/>
            <pc:sldMk cId="1341643037" sldId="570"/>
            <ac:spMk id="10" creationId="{A4DE0F54-5DCD-427D-8ECA-DDC2423B4B4E}"/>
          </ac:spMkLst>
        </pc:spChg>
        <pc:spChg chg="add mod">
          <ac:chgData name="Del Olmo Mosteiro, Aixa" userId="53bcf9b9-77e8-4b0b-99b4-eb96a8a4ffd5" providerId="ADAL" clId="{3565D7DC-C2D0-4620-8043-4AC8C985AD7C}" dt="2022-11-21T15:27:29.935" v="346" actId="404"/>
          <ac:spMkLst>
            <pc:docMk/>
            <pc:sldMk cId="1341643037" sldId="570"/>
            <ac:spMk id="11" creationId="{4C628537-E1EB-41CF-93C5-1BCE5111151B}"/>
          </ac:spMkLst>
        </pc:spChg>
        <pc:grpChg chg="add mod">
          <ac:chgData name="Del Olmo Mosteiro, Aixa" userId="53bcf9b9-77e8-4b0b-99b4-eb96a8a4ffd5" providerId="ADAL" clId="{3565D7DC-C2D0-4620-8043-4AC8C985AD7C}" dt="2022-11-21T15:27:06.734" v="339" actId="1076"/>
          <ac:grpSpMkLst>
            <pc:docMk/>
            <pc:sldMk cId="1341643037" sldId="570"/>
            <ac:grpSpMk id="5" creationId="{C3152FCF-27C4-497E-B53A-4E16D8BF3BD4}"/>
          </ac:grpSpMkLst>
        </pc:grpChg>
        <pc:picChg chg="add mod">
          <ac:chgData name="Del Olmo Mosteiro, Aixa" userId="53bcf9b9-77e8-4b0b-99b4-eb96a8a4ffd5" providerId="ADAL" clId="{3565D7DC-C2D0-4620-8043-4AC8C985AD7C}" dt="2022-11-21T15:31:45.310" v="388"/>
          <ac:picMkLst>
            <pc:docMk/>
            <pc:sldMk cId="1341643037" sldId="570"/>
            <ac:picMk id="12" creationId="{2027D866-6DAF-4322-B79F-0AE7E572402E}"/>
          </ac:picMkLst>
        </pc:picChg>
        <pc:picChg chg="add mod">
          <ac:chgData name="Del Olmo Mosteiro, Aixa" userId="53bcf9b9-77e8-4b0b-99b4-eb96a8a4ffd5" providerId="ADAL" clId="{3565D7DC-C2D0-4620-8043-4AC8C985AD7C}" dt="2022-11-21T15:31:45.310" v="388"/>
          <ac:picMkLst>
            <pc:docMk/>
            <pc:sldMk cId="1341643037" sldId="570"/>
            <ac:picMk id="13" creationId="{E524F3CB-E366-4ECF-BA8F-37061B97B27B}"/>
          </ac:picMkLst>
        </pc:picChg>
      </pc:sldChg>
      <pc:sldChg chg="addSp delSp modSp new mod ord">
        <pc:chgData name="Del Olmo Mosteiro, Aixa" userId="53bcf9b9-77e8-4b0b-99b4-eb96a8a4ffd5" providerId="ADAL" clId="{3565D7DC-C2D0-4620-8043-4AC8C985AD7C}" dt="2022-11-21T16:58:07.262" v="2146" actId="207"/>
        <pc:sldMkLst>
          <pc:docMk/>
          <pc:sldMk cId="1527499047" sldId="571"/>
        </pc:sldMkLst>
        <pc:spChg chg="mod">
          <ac:chgData name="Del Olmo Mosteiro, Aixa" userId="53bcf9b9-77e8-4b0b-99b4-eb96a8a4ffd5" providerId="ADAL" clId="{3565D7DC-C2D0-4620-8043-4AC8C985AD7C}" dt="2022-11-21T15:38:18.506" v="580" actId="2711"/>
          <ac:spMkLst>
            <pc:docMk/>
            <pc:sldMk cId="1527499047" sldId="571"/>
            <ac:spMk id="2" creationId="{63DB8343-0D9A-4953-8BCA-E1251E1AACF0}"/>
          </ac:spMkLst>
        </pc:spChg>
        <pc:spChg chg="del">
          <ac:chgData name="Del Olmo Mosteiro, Aixa" userId="53bcf9b9-77e8-4b0b-99b4-eb96a8a4ffd5" providerId="ADAL" clId="{3565D7DC-C2D0-4620-8043-4AC8C985AD7C}" dt="2022-11-21T15:33:25.615" v="487" actId="478"/>
          <ac:spMkLst>
            <pc:docMk/>
            <pc:sldMk cId="1527499047" sldId="571"/>
            <ac:spMk id="3" creationId="{68F408CC-5528-41DB-B597-369C3AB1FE56}"/>
          </ac:spMkLst>
        </pc:spChg>
        <pc:spChg chg="mod">
          <ac:chgData name="Del Olmo Mosteiro, Aixa" userId="53bcf9b9-77e8-4b0b-99b4-eb96a8a4ffd5" providerId="ADAL" clId="{3565D7DC-C2D0-4620-8043-4AC8C985AD7C}" dt="2022-11-21T16:50:02.321" v="1897" actId="207"/>
          <ac:spMkLst>
            <pc:docMk/>
            <pc:sldMk cId="1527499047" sldId="571"/>
            <ac:spMk id="5" creationId="{931B83AA-06E7-4AE8-A532-7CE5C8770AAB}"/>
          </ac:spMkLst>
        </pc:spChg>
        <pc:spChg chg="mod">
          <ac:chgData name="Del Olmo Mosteiro, Aixa" userId="53bcf9b9-77e8-4b0b-99b4-eb96a8a4ffd5" providerId="ADAL" clId="{3565D7DC-C2D0-4620-8043-4AC8C985AD7C}" dt="2022-11-21T15:45:04.514" v="751" actId="403"/>
          <ac:spMkLst>
            <pc:docMk/>
            <pc:sldMk cId="1527499047" sldId="571"/>
            <ac:spMk id="6" creationId="{7CD8D8F3-3801-49D7-A8F4-CB2C9C49F9F7}"/>
          </ac:spMkLst>
        </pc:spChg>
        <pc:spChg chg="mod">
          <ac:chgData name="Del Olmo Mosteiro, Aixa" userId="53bcf9b9-77e8-4b0b-99b4-eb96a8a4ffd5" providerId="ADAL" clId="{3565D7DC-C2D0-4620-8043-4AC8C985AD7C}" dt="2022-11-21T16:47:42.996" v="1645" actId="14100"/>
          <ac:spMkLst>
            <pc:docMk/>
            <pc:sldMk cId="1527499047" sldId="571"/>
            <ac:spMk id="8" creationId="{73A7F254-3ECA-4D2B-99ED-11AD8ECAC6C3}"/>
          </ac:spMkLst>
        </pc:spChg>
        <pc:spChg chg="mod">
          <ac:chgData name="Del Olmo Mosteiro, Aixa" userId="53bcf9b9-77e8-4b0b-99b4-eb96a8a4ffd5" providerId="ADAL" clId="{3565D7DC-C2D0-4620-8043-4AC8C985AD7C}" dt="2022-11-21T15:44:58.563" v="749" actId="404"/>
          <ac:spMkLst>
            <pc:docMk/>
            <pc:sldMk cId="1527499047" sldId="571"/>
            <ac:spMk id="9" creationId="{09C7B543-C6A1-40DF-9999-CF0B412A4E88}"/>
          </ac:spMkLst>
        </pc:spChg>
        <pc:spChg chg="mod">
          <ac:chgData name="Del Olmo Mosteiro, Aixa" userId="53bcf9b9-77e8-4b0b-99b4-eb96a8a4ffd5" providerId="ADAL" clId="{3565D7DC-C2D0-4620-8043-4AC8C985AD7C}" dt="2022-11-21T16:58:07.262" v="2146" actId="207"/>
          <ac:spMkLst>
            <pc:docMk/>
            <pc:sldMk cId="1527499047" sldId="571"/>
            <ac:spMk id="11" creationId="{B8F6DD7E-28AC-4934-9AE4-0E1ABC25AF46}"/>
          </ac:spMkLst>
        </pc:spChg>
        <pc:spChg chg="mod">
          <ac:chgData name="Del Olmo Mosteiro, Aixa" userId="53bcf9b9-77e8-4b0b-99b4-eb96a8a4ffd5" providerId="ADAL" clId="{3565D7DC-C2D0-4620-8043-4AC8C985AD7C}" dt="2022-11-21T15:44:52.206" v="745" actId="403"/>
          <ac:spMkLst>
            <pc:docMk/>
            <pc:sldMk cId="1527499047" sldId="571"/>
            <ac:spMk id="12" creationId="{8A41FA1A-129D-4757-BCF9-449AE077E1F7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16" creationId="{53C658ED-E92C-4D27-92A0-86B9573CFB0A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17" creationId="{C683B63E-1944-4CFC-98B4-8B404C0FBFFE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18" creationId="{01768637-D02C-424A-824F-34D6956B2F6A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19" creationId="{636C5B0C-BB83-4F76-8D3E-B1CC08BBE079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20" creationId="{39F45811-619C-498E-B288-8FF0DD0B552F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21" creationId="{AB224228-8AF4-413A-B4CA-5F702A9C6E13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22" creationId="{09EB636D-1744-48E7-A22A-2FCC260EBBBA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23" creationId="{CCD579B1-7288-4F6A-A7D0-F93F4AC5092B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24" creationId="{BD523DCF-FFC5-45B5-BD41-6866E15A093B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25" creationId="{CB2316E5-0FBF-486F-B4F1-DB21F02A6F0C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26" creationId="{67D5856D-AEF4-4030-8DE7-4EACA2B0B01C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27" creationId="{10C37F75-BE93-4CA1-891C-C25FFAE6B886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28" creationId="{A6C278AE-B743-46BC-A3A1-94D64227FEEA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29" creationId="{4BCA398A-250F-4B78-9604-5499E6719037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30" creationId="{9D49EC7B-F212-4D87-B4F6-B656BBDFA9FC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31" creationId="{D4150355-C126-410E-BC80-A5218FC5C4AD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32" creationId="{37B1040A-DE15-4C7C-9911-38A1CADCB089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33" creationId="{39C59EC7-A051-4527-BF9E-E0A493DB1C8A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34" creationId="{5B167020-21EA-4517-83F0-D7320C6FFBB6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35" creationId="{648ED894-1C5F-405C-B305-0D57178DF376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37" creationId="{251AA955-60EB-4F74-8E4F-00D3AA330ACD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38" creationId="{1ABAA808-85F1-4EF1-9815-77817425D63C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39" creationId="{4251AD1A-A5A8-4300-9018-FA4DB6389F69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40" creationId="{6B7903F7-42E7-4CE6-A02D-C4BD45A909E3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41" creationId="{2E1854E8-ACB0-4D11-858C-0DDB9867C5A1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42" creationId="{8650A7C1-902F-488C-90FD-89AC23A0A258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43" creationId="{BFBAED83-D5C3-4E60-BE5E-E6CA80B2A30D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44" creationId="{88173D81-7EFF-4574-BB53-9414C2E724FD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45" creationId="{3F3D971F-06AE-415E-82B3-B742304EC84B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46" creationId="{3CE70836-009D-4D99-873E-6E06841C646D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47" creationId="{832E7F0A-CB49-4BC9-B7DA-7AA1056175E6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48" creationId="{11D68397-E43A-4B61-944C-21EDA50F3D35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49" creationId="{5632E9EE-171E-4B0B-A5C6-77FE4C1B6083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51" creationId="{1AFAD0A0-123E-49B4-9C8A-37A305DBCD8C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52" creationId="{981D3C7F-019E-4C90-AFC9-56B41452AB8E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53" creationId="{12BCB0E4-2951-4A3A-A6AF-ACEF84A9E123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54" creationId="{7AB6A02F-4CA9-4D8D-BEAE-0A64B394FB5B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55" creationId="{BE02B362-676A-47F4-9C0A-9779920142F7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56" creationId="{F7DE2221-7FF3-4D6F-89B9-C6F810762798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57" creationId="{0CA4630B-B1DE-4C21-8DC7-66FA1456DA23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58" creationId="{0EFCA646-1AE7-480E-89E2-CC37B7B647D1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59" creationId="{4AEED0F6-62FD-4206-919B-FD0D49505473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60" creationId="{3C27F5DC-4043-459E-920C-DF7D89BFC670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61" creationId="{E5213E43-E5A3-4673-8E61-125497FD9394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62" creationId="{D3AA2F6A-1020-49D0-941A-14BF64981676}"/>
          </ac:spMkLst>
        </pc:spChg>
        <pc:spChg chg="mod">
          <ac:chgData name="Del Olmo Mosteiro, Aixa" userId="53bcf9b9-77e8-4b0b-99b4-eb96a8a4ffd5" providerId="ADAL" clId="{3565D7DC-C2D0-4620-8043-4AC8C985AD7C}" dt="2022-11-21T15:34:21.947" v="512" actId="1036"/>
          <ac:spMkLst>
            <pc:docMk/>
            <pc:sldMk cId="1527499047" sldId="571"/>
            <ac:spMk id="63" creationId="{7C8968FA-D31B-4496-93F9-EF0B1A2A8171}"/>
          </ac:spMkLst>
        </pc:spChg>
        <pc:spChg chg="add mod">
          <ac:chgData name="Del Olmo Mosteiro, Aixa" userId="53bcf9b9-77e8-4b0b-99b4-eb96a8a4ffd5" providerId="ADAL" clId="{3565D7DC-C2D0-4620-8043-4AC8C985AD7C}" dt="2022-11-21T15:34:25.391" v="513"/>
          <ac:spMkLst>
            <pc:docMk/>
            <pc:sldMk cId="1527499047" sldId="571"/>
            <ac:spMk id="64" creationId="{13AC434C-CDDA-4F03-9273-9A2A9D9D1F80}"/>
          </ac:spMkLst>
        </pc:spChg>
        <pc:grpChg chg="add mod">
          <ac:chgData name="Del Olmo Mosteiro, Aixa" userId="53bcf9b9-77e8-4b0b-99b4-eb96a8a4ffd5" providerId="ADAL" clId="{3565D7DC-C2D0-4620-8043-4AC8C985AD7C}" dt="2022-11-21T15:45:47.730" v="770" actId="1036"/>
          <ac:grpSpMkLst>
            <pc:docMk/>
            <pc:sldMk cId="1527499047" sldId="571"/>
            <ac:grpSpMk id="4" creationId="{0BAF315E-B69D-49B0-893C-60A5FE214372}"/>
          </ac:grpSpMkLst>
        </pc:grpChg>
        <pc:grpChg chg="add mod">
          <ac:chgData name="Del Olmo Mosteiro, Aixa" userId="53bcf9b9-77e8-4b0b-99b4-eb96a8a4ffd5" providerId="ADAL" clId="{3565D7DC-C2D0-4620-8043-4AC8C985AD7C}" dt="2022-11-21T15:45:47.730" v="770" actId="1036"/>
          <ac:grpSpMkLst>
            <pc:docMk/>
            <pc:sldMk cId="1527499047" sldId="571"/>
            <ac:grpSpMk id="7" creationId="{E1054E0F-2C10-491E-AEC4-4B21A6B5F964}"/>
          </ac:grpSpMkLst>
        </pc:grpChg>
        <pc:grpChg chg="add mod">
          <ac:chgData name="Del Olmo Mosteiro, Aixa" userId="53bcf9b9-77e8-4b0b-99b4-eb96a8a4ffd5" providerId="ADAL" clId="{3565D7DC-C2D0-4620-8043-4AC8C985AD7C}" dt="2022-11-21T15:45:47.730" v="770" actId="1036"/>
          <ac:grpSpMkLst>
            <pc:docMk/>
            <pc:sldMk cId="1527499047" sldId="571"/>
            <ac:grpSpMk id="10" creationId="{4D9981CA-DFA4-4AC8-80F0-A6145BC396F4}"/>
          </ac:grpSpMkLst>
        </pc:grpChg>
        <pc:grpChg chg="add del mod">
          <ac:chgData name="Del Olmo Mosteiro, Aixa" userId="53bcf9b9-77e8-4b0b-99b4-eb96a8a4ffd5" providerId="ADAL" clId="{3565D7DC-C2D0-4620-8043-4AC8C985AD7C}" dt="2022-11-21T15:35:06.632" v="524" actId="478"/>
          <ac:grpSpMkLst>
            <pc:docMk/>
            <pc:sldMk cId="1527499047" sldId="571"/>
            <ac:grpSpMk id="15" creationId="{E22E2A80-8896-4AB2-A83D-3E26A22BFB1F}"/>
          </ac:grpSpMkLst>
        </pc:grpChg>
        <pc:grpChg chg="add del mod">
          <ac:chgData name="Del Olmo Mosteiro, Aixa" userId="53bcf9b9-77e8-4b0b-99b4-eb96a8a4ffd5" providerId="ADAL" clId="{3565D7DC-C2D0-4620-8043-4AC8C985AD7C}" dt="2022-11-21T15:34:51.460" v="520" actId="478"/>
          <ac:grpSpMkLst>
            <pc:docMk/>
            <pc:sldMk cId="1527499047" sldId="571"/>
            <ac:grpSpMk id="36" creationId="{1750FB77-A339-45EC-BD09-86A8C91CDEDF}"/>
          </ac:grpSpMkLst>
        </pc:grpChg>
        <pc:grpChg chg="add del mod">
          <ac:chgData name="Del Olmo Mosteiro, Aixa" userId="53bcf9b9-77e8-4b0b-99b4-eb96a8a4ffd5" providerId="ADAL" clId="{3565D7DC-C2D0-4620-8043-4AC8C985AD7C}" dt="2022-11-21T15:34:49.338" v="519" actId="478"/>
          <ac:grpSpMkLst>
            <pc:docMk/>
            <pc:sldMk cId="1527499047" sldId="571"/>
            <ac:grpSpMk id="50" creationId="{BD9F1E40-D2CF-4CD3-98BF-E57AD86E24AB}"/>
          </ac:grpSpMkLst>
        </pc:grpChg>
        <pc:picChg chg="add mod">
          <ac:chgData name="Del Olmo Mosteiro, Aixa" userId="53bcf9b9-77e8-4b0b-99b4-eb96a8a4ffd5" providerId="ADAL" clId="{3565D7DC-C2D0-4620-8043-4AC8C985AD7C}" dt="2022-11-21T15:38:52.238" v="604"/>
          <ac:picMkLst>
            <pc:docMk/>
            <pc:sldMk cId="1527499047" sldId="571"/>
            <ac:picMk id="65" creationId="{2D3C2687-0950-4D6F-9198-E96F98FF8A97}"/>
          </ac:picMkLst>
        </pc:picChg>
        <pc:picChg chg="add mod">
          <ac:chgData name="Del Olmo Mosteiro, Aixa" userId="53bcf9b9-77e8-4b0b-99b4-eb96a8a4ffd5" providerId="ADAL" clId="{3565D7DC-C2D0-4620-8043-4AC8C985AD7C}" dt="2022-11-21T15:38:52.238" v="604"/>
          <ac:picMkLst>
            <pc:docMk/>
            <pc:sldMk cId="1527499047" sldId="571"/>
            <ac:picMk id="66" creationId="{BC3CB67F-795A-49BA-8CCD-AB2C1F728594}"/>
          </ac:picMkLst>
        </pc:picChg>
        <pc:cxnChg chg="add mod">
          <ac:chgData name="Del Olmo Mosteiro, Aixa" userId="53bcf9b9-77e8-4b0b-99b4-eb96a8a4ffd5" providerId="ADAL" clId="{3565D7DC-C2D0-4620-8043-4AC8C985AD7C}" dt="2022-11-21T16:47:12.325" v="1611" actId="14100"/>
          <ac:cxnSpMkLst>
            <pc:docMk/>
            <pc:sldMk cId="1527499047" sldId="571"/>
            <ac:cxnSpMk id="13" creationId="{7E24A3D4-91A9-4728-AD22-904DF943B5C4}"/>
          </ac:cxnSpMkLst>
        </pc:cxnChg>
        <pc:cxnChg chg="add mod">
          <ac:chgData name="Del Olmo Mosteiro, Aixa" userId="53bcf9b9-77e8-4b0b-99b4-eb96a8a4ffd5" providerId="ADAL" clId="{3565D7DC-C2D0-4620-8043-4AC8C985AD7C}" dt="2022-11-21T16:47:49.934" v="1663" actId="14100"/>
          <ac:cxnSpMkLst>
            <pc:docMk/>
            <pc:sldMk cId="1527499047" sldId="571"/>
            <ac:cxnSpMk id="14" creationId="{F6F9308F-07C0-4742-B689-C789A9ED4B9A}"/>
          </ac:cxnSpMkLst>
        </pc:cxnChg>
      </pc:sldChg>
      <pc:sldChg chg="addSp delSp modSp add del mod ord">
        <pc:chgData name="Del Olmo Mosteiro, Aixa" userId="53bcf9b9-77e8-4b0b-99b4-eb96a8a4ffd5" providerId="ADAL" clId="{3565D7DC-C2D0-4620-8043-4AC8C985AD7C}" dt="2022-11-21T15:22:37.550" v="277" actId="47"/>
        <pc:sldMkLst>
          <pc:docMk/>
          <pc:sldMk cId="2632296009" sldId="571"/>
        </pc:sldMkLst>
        <pc:spChg chg="del">
          <ac:chgData name="Del Olmo Mosteiro, Aixa" userId="53bcf9b9-77e8-4b0b-99b4-eb96a8a4ffd5" providerId="ADAL" clId="{3565D7DC-C2D0-4620-8043-4AC8C985AD7C}" dt="2022-11-21T15:22:06.321" v="275" actId="478"/>
          <ac:spMkLst>
            <pc:docMk/>
            <pc:sldMk cId="2632296009" sldId="571"/>
            <ac:spMk id="2" creationId="{14FE247A-8F75-4C88-B436-3C3A1B3C5F4D}"/>
          </ac:spMkLst>
        </pc:spChg>
        <pc:spChg chg="del">
          <ac:chgData name="Del Olmo Mosteiro, Aixa" userId="53bcf9b9-77e8-4b0b-99b4-eb96a8a4ffd5" providerId="ADAL" clId="{3565D7DC-C2D0-4620-8043-4AC8C985AD7C}" dt="2022-11-21T15:22:08.457" v="276" actId="478"/>
          <ac:spMkLst>
            <pc:docMk/>
            <pc:sldMk cId="2632296009" sldId="571"/>
            <ac:spMk id="3" creationId="{78751AA6-3060-4C7A-BD27-B3C613A0E34B}"/>
          </ac:spMkLst>
        </pc:spChg>
        <pc:spChg chg="add mod">
          <ac:chgData name="Del Olmo Mosteiro, Aixa" userId="53bcf9b9-77e8-4b0b-99b4-eb96a8a4ffd5" providerId="ADAL" clId="{3565D7DC-C2D0-4620-8043-4AC8C985AD7C}" dt="2022-11-21T15:22:06.321" v="275" actId="478"/>
          <ac:spMkLst>
            <pc:docMk/>
            <pc:sldMk cId="2632296009" sldId="571"/>
            <ac:spMk id="5" creationId="{261CE2B2-37B6-41DB-93F4-E558189E3DAB}"/>
          </ac:spMkLst>
        </pc:spChg>
        <pc:spChg chg="add mod">
          <ac:chgData name="Del Olmo Mosteiro, Aixa" userId="53bcf9b9-77e8-4b0b-99b4-eb96a8a4ffd5" providerId="ADAL" clId="{3565D7DC-C2D0-4620-8043-4AC8C985AD7C}" dt="2022-11-21T15:22:08.457" v="276" actId="478"/>
          <ac:spMkLst>
            <pc:docMk/>
            <pc:sldMk cId="2632296009" sldId="571"/>
            <ac:spMk id="7" creationId="{F50D7750-E76F-453C-AF32-DD0FCA06A610}"/>
          </ac:spMkLst>
        </pc:spChg>
      </pc:sldChg>
      <pc:sldChg chg="addSp delSp modSp add del mod">
        <pc:chgData name="Del Olmo Mosteiro, Aixa" userId="53bcf9b9-77e8-4b0b-99b4-eb96a8a4ffd5" providerId="ADAL" clId="{3565D7DC-C2D0-4620-8043-4AC8C985AD7C}" dt="2022-11-21T15:44:27.272" v="743" actId="47"/>
        <pc:sldMkLst>
          <pc:docMk/>
          <pc:sldMk cId="2051609213" sldId="572"/>
        </pc:sldMkLst>
        <pc:spChg chg="mod">
          <ac:chgData name="Del Olmo Mosteiro, Aixa" userId="53bcf9b9-77e8-4b0b-99b4-eb96a8a4ffd5" providerId="ADAL" clId="{3565D7DC-C2D0-4620-8043-4AC8C985AD7C}" dt="2022-11-21T15:42:11.023" v="704" actId="255"/>
          <ac:spMkLst>
            <pc:docMk/>
            <pc:sldMk cId="2051609213" sldId="572"/>
            <ac:spMk id="2" creationId="{63DB8343-0D9A-4953-8BCA-E1251E1AACF0}"/>
          </ac:spMkLst>
        </pc:spChg>
        <pc:spChg chg="add">
          <ac:chgData name="Del Olmo Mosteiro, Aixa" userId="53bcf9b9-77e8-4b0b-99b4-eb96a8a4ffd5" providerId="ADAL" clId="{3565D7DC-C2D0-4620-8043-4AC8C985AD7C}" dt="2022-11-21T15:41:47.132" v="682" actId="22"/>
          <ac:spMkLst>
            <pc:docMk/>
            <pc:sldMk cId="2051609213" sldId="572"/>
            <ac:spMk id="18" creationId="{B1FAB85D-66C5-4182-84BB-F04E34B3103E}"/>
          </ac:spMkLst>
        </pc:spChg>
        <pc:grpChg chg="del">
          <ac:chgData name="Del Olmo Mosteiro, Aixa" userId="53bcf9b9-77e8-4b0b-99b4-eb96a8a4ffd5" providerId="ADAL" clId="{3565D7DC-C2D0-4620-8043-4AC8C985AD7C}" dt="2022-11-21T15:41:45.994" v="681" actId="478"/>
          <ac:grpSpMkLst>
            <pc:docMk/>
            <pc:sldMk cId="2051609213" sldId="572"/>
            <ac:grpSpMk id="4" creationId="{0BAF315E-B69D-49B0-893C-60A5FE214372}"/>
          </ac:grpSpMkLst>
        </pc:grpChg>
        <pc:grpChg chg="del">
          <ac:chgData name="Del Olmo Mosteiro, Aixa" userId="53bcf9b9-77e8-4b0b-99b4-eb96a8a4ffd5" providerId="ADAL" clId="{3565D7DC-C2D0-4620-8043-4AC8C985AD7C}" dt="2022-11-21T15:41:45.994" v="681" actId="478"/>
          <ac:grpSpMkLst>
            <pc:docMk/>
            <pc:sldMk cId="2051609213" sldId="572"/>
            <ac:grpSpMk id="7" creationId="{E1054E0F-2C10-491E-AEC4-4B21A6B5F964}"/>
          </ac:grpSpMkLst>
        </pc:grpChg>
        <pc:grpChg chg="del">
          <ac:chgData name="Del Olmo Mosteiro, Aixa" userId="53bcf9b9-77e8-4b0b-99b4-eb96a8a4ffd5" providerId="ADAL" clId="{3565D7DC-C2D0-4620-8043-4AC8C985AD7C}" dt="2022-11-21T15:41:45.994" v="681" actId="478"/>
          <ac:grpSpMkLst>
            <pc:docMk/>
            <pc:sldMk cId="2051609213" sldId="572"/>
            <ac:grpSpMk id="10" creationId="{4D9981CA-DFA4-4AC8-80F0-A6145BC396F4}"/>
          </ac:grpSpMkLst>
        </pc:grpChg>
        <pc:cxnChg chg="del">
          <ac:chgData name="Del Olmo Mosteiro, Aixa" userId="53bcf9b9-77e8-4b0b-99b4-eb96a8a4ffd5" providerId="ADAL" clId="{3565D7DC-C2D0-4620-8043-4AC8C985AD7C}" dt="2022-11-21T15:41:45.994" v="681" actId="478"/>
          <ac:cxnSpMkLst>
            <pc:docMk/>
            <pc:sldMk cId="2051609213" sldId="572"/>
            <ac:cxnSpMk id="13" creationId="{7E24A3D4-91A9-4728-AD22-904DF943B5C4}"/>
          </ac:cxnSpMkLst>
        </pc:cxnChg>
        <pc:cxnChg chg="del">
          <ac:chgData name="Del Olmo Mosteiro, Aixa" userId="53bcf9b9-77e8-4b0b-99b4-eb96a8a4ffd5" providerId="ADAL" clId="{3565D7DC-C2D0-4620-8043-4AC8C985AD7C}" dt="2022-11-21T15:41:45.994" v="681" actId="478"/>
          <ac:cxnSpMkLst>
            <pc:docMk/>
            <pc:sldMk cId="2051609213" sldId="572"/>
            <ac:cxnSpMk id="14" creationId="{F6F9308F-07C0-4742-B689-C789A9ED4B9A}"/>
          </ac:cxnSpMkLst>
        </pc:cxnChg>
      </pc:sldChg>
      <pc:sldChg chg="addSp delSp modSp add mod">
        <pc:chgData name="Del Olmo Mosteiro, Aixa" userId="53bcf9b9-77e8-4b0b-99b4-eb96a8a4ffd5" providerId="ADAL" clId="{3565D7DC-C2D0-4620-8043-4AC8C985AD7C}" dt="2022-11-21T16:42:52.295" v="1184" actId="14100"/>
        <pc:sldMkLst>
          <pc:docMk/>
          <pc:sldMk cId="2105669217" sldId="573"/>
        </pc:sldMkLst>
        <pc:spChg chg="mod">
          <ac:chgData name="Del Olmo Mosteiro, Aixa" userId="53bcf9b9-77e8-4b0b-99b4-eb96a8a4ffd5" providerId="ADAL" clId="{3565D7DC-C2D0-4620-8043-4AC8C985AD7C}" dt="2022-11-21T15:46:15.647" v="788" actId="20577"/>
          <ac:spMkLst>
            <pc:docMk/>
            <pc:sldMk cId="2105669217" sldId="573"/>
            <ac:spMk id="2" creationId="{B9806C6F-4189-4D30-92F8-74DA904402FF}"/>
          </ac:spMkLst>
        </pc:spChg>
        <pc:spChg chg="del">
          <ac:chgData name="Del Olmo Mosteiro, Aixa" userId="53bcf9b9-77e8-4b0b-99b4-eb96a8a4ffd5" providerId="ADAL" clId="{3565D7DC-C2D0-4620-8043-4AC8C985AD7C}" dt="2022-11-21T15:44:19.649" v="740" actId="478"/>
          <ac:spMkLst>
            <pc:docMk/>
            <pc:sldMk cId="2105669217" sldId="573"/>
            <ac:spMk id="3" creationId="{0D4255F1-2953-4143-9C73-C29D2BF9B7B1}"/>
          </ac:spMkLst>
        </pc:spChg>
        <pc:spChg chg="add del mod">
          <ac:chgData name="Del Olmo Mosteiro, Aixa" userId="53bcf9b9-77e8-4b0b-99b4-eb96a8a4ffd5" providerId="ADAL" clId="{3565D7DC-C2D0-4620-8043-4AC8C985AD7C}" dt="2022-11-21T15:44:22.262" v="742" actId="478"/>
          <ac:spMkLst>
            <pc:docMk/>
            <pc:sldMk cId="2105669217" sldId="573"/>
            <ac:spMk id="5" creationId="{221B6129-F94D-4A02-B934-2C39D899F354}"/>
          </ac:spMkLst>
        </pc:spChg>
        <pc:spChg chg="add del mod">
          <ac:chgData name="Del Olmo Mosteiro, Aixa" userId="53bcf9b9-77e8-4b0b-99b4-eb96a8a4ffd5" providerId="ADAL" clId="{3565D7DC-C2D0-4620-8043-4AC8C985AD7C}" dt="2022-11-21T15:46:23.307" v="789" actId="478"/>
          <ac:spMkLst>
            <pc:docMk/>
            <pc:sldMk cId="2105669217" sldId="573"/>
            <ac:spMk id="12" creationId="{1A96055C-35AC-473F-829A-811A4CADFE7D}"/>
          </ac:spMkLst>
        </pc:spChg>
        <pc:spChg chg="add mod">
          <ac:chgData name="Del Olmo Mosteiro, Aixa" userId="53bcf9b9-77e8-4b0b-99b4-eb96a8a4ffd5" providerId="ADAL" clId="{3565D7DC-C2D0-4620-8043-4AC8C985AD7C}" dt="2022-11-21T16:42:52.295" v="1184" actId="14100"/>
          <ac:spMkLst>
            <pc:docMk/>
            <pc:sldMk cId="2105669217" sldId="573"/>
            <ac:spMk id="13" creationId="{BBD28F6B-A502-493F-9A24-CEDA654E31F5}"/>
          </ac:spMkLst>
        </pc:spChg>
      </pc:sldChg>
      <pc:sldChg chg="modSp add mod">
        <pc:chgData name="Del Olmo Mosteiro, Aixa" userId="53bcf9b9-77e8-4b0b-99b4-eb96a8a4ffd5" providerId="ADAL" clId="{3565D7DC-C2D0-4620-8043-4AC8C985AD7C}" dt="2022-11-21T16:45:55.346" v="1576" actId="207"/>
        <pc:sldMkLst>
          <pc:docMk/>
          <pc:sldMk cId="4109525425" sldId="574"/>
        </pc:sldMkLst>
        <pc:spChg chg="mod">
          <ac:chgData name="Del Olmo Mosteiro, Aixa" userId="53bcf9b9-77e8-4b0b-99b4-eb96a8a4ffd5" providerId="ADAL" clId="{3565D7DC-C2D0-4620-8043-4AC8C985AD7C}" dt="2022-11-21T16:45:55.346" v="1576" actId="207"/>
          <ac:spMkLst>
            <pc:docMk/>
            <pc:sldMk cId="4109525425" sldId="574"/>
            <ac:spMk id="12" creationId="{1A96055C-35AC-473F-829A-811A4CADFE7D}"/>
          </ac:spMkLst>
        </pc:spChg>
      </pc:sldChg>
      <pc:sldChg chg="addSp delSp modSp add mod">
        <pc:chgData name="Del Olmo Mosteiro, Aixa" userId="53bcf9b9-77e8-4b0b-99b4-eb96a8a4ffd5" providerId="ADAL" clId="{3565D7DC-C2D0-4620-8043-4AC8C985AD7C}" dt="2022-11-21T15:47:32.221" v="839" actId="14100"/>
        <pc:sldMkLst>
          <pc:docMk/>
          <pc:sldMk cId="2702076687" sldId="575"/>
        </pc:sldMkLst>
        <pc:spChg chg="mod">
          <ac:chgData name="Del Olmo Mosteiro, Aixa" userId="53bcf9b9-77e8-4b0b-99b4-eb96a8a4ffd5" providerId="ADAL" clId="{3565D7DC-C2D0-4620-8043-4AC8C985AD7C}" dt="2022-11-21T15:47:10.581" v="832" actId="20577"/>
          <ac:spMkLst>
            <pc:docMk/>
            <pc:sldMk cId="2702076687" sldId="575"/>
            <ac:spMk id="2" creationId="{B9806C6F-4189-4D30-92F8-74DA904402FF}"/>
          </ac:spMkLst>
        </pc:spChg>
        <pc:spChg chg="del">
          <ac:chgData name="Del Olmo Mosteiro, Aixa" userId="53bcf9b9-77e8-4b0b-99b4-eb96a8a4ffd5" providerId="ADAL" clId="{3565D7DC-C2D0-4620-8043-4AC8C985AD7C}" dt="2022-11-21T15:47:13.246" v="833" actId="478"/>
          <ac:spMkLst>
            <pc:docMk/>
            <pc:sldMk cId="2702076687" sldId="575"/>
            <ac:spMk id="3" creationId="{0D4255F1-2953-4143-9C73-C29D2BF9B7B1}"/>
          </ac:spMkLst>
        </pc:spChg>
        <pc:spChg chg="add del mod">
          <ac:chgData name="Del Olmo Mosteiro, Aixa" userId="53bcf9b9-77e8-4b0b-99b4-eb96a8a4ffd5" providerId="ADAL" clId="{3565D7DC-C2D0-4620-8043-4AC8C985AD7C}" dt="2022-11-21T15:47:14.665" v="834" actId="478"/>
          <ac:spMkLst>
            <pc:docMk/>
            <pc:sldMk cId="2702076687" sldId="575"/>
            <ac:spMk id="5" creationId="{53E37DF1-365C-4F19-BD25-12CEF5518E00}"/>
          </ac:spMkLst>
        </pc:spChg>
        <pc:spChg chg="add mod">
          <ac:chgData name="Del Olmo Mosteiro, Aixa" userId="53bcf9b9-77e8-4b0b-99b4-eb96a8a4ffd5" providerId="ADAL" clId="{3565D7DC-C2D0-4620-8043-4AC8C985AD7C}" dt="2022-11-21T15:47:32.221" v="839" actId="14100"/>
          <ac:spMkLst>
            <pc:docMk/>
            <pc:sldMk cId="2702076687" sldId="575"/>
            <ac:spMk id="12" creationId="{C05C9E4F-C2D4-468B-AD5E-298979F69790}"/>
          </ac:spMkLst>
        </pc:spChg>
      </pc:sldChg>
      <pc:sldChg chg="addSp delSp modSp add mod setBg delDesignElem">
        <pc:chgData name="Del Olmo Mosteiro, Aixa" userId="53bcf9b9-77e8-4b0b-99b4-eb96a8a4ffd5" providerId="ADAL" clId="{3565D7DC-C2D0-4620-8043-4AC8C985AD7C}" dt="2022-11-21T16:51:42.520" v="1957" actId="20577"/>
        <pc:sldMkLst>
          <pc:docMk/>
          <pc:sldMk cId="3870781057" sldId="576"/>
        </pc:sldMkLst>
        <pc:spChg chg="mod">
          <ac:chgData name="Del Olmo Mosteiro, Aixa" userId="53bcf9b9-77e8-4b0b-99b4-eb96a8a4ffd5" providerId="ADAL" clId="{3565D7DC-C2D0-4620-8043-4AC8C985AD7C}" dt="2022-11-21T15:48:00.352" v="853" actId="20577"/>
          <ac:spMkLst>
            <pc:docMk/>
            <pc:sldMk cId="3870781057" sldId="576"/>
            <ac:spMk id="2" creationId="{B9806C6F-4189-4D30-92F8-74DA904402FF}"/>
          </ac:spMkLst>
        </pc:spChg>
        <pc:spChg chg="del">
          <ac:chgData name="Del Olmo Mosteiro, Aixa" userId="53bcf9b9-77e8-4b0b-99b4-eb96a8a4ffd5" providerId="ADAL" clId="{3565D7DC-C2D0-4620-8043-4AC8C985AD7C}" dt="2022-11-21T15:47:55.451" v="843"/>
          <ac:spMkLst>
            <pc:docMk/>
            <pc:sldMk cId="3870781057" sldId="576"/>
            <ac:spMk id="8" creationId="{100EDD19-6802-4EC3-95CE-CFFAB042CFD6}"/>
          </ac:spMkLst>
        </pc:spChg>
        <pc:spChg chg="del">
          <ac:chgData name="Del Olmo Mosteiro, Aixa" userId="53bcf9b9-77e8-4b0b-99b4-eb96a8a4ffd5" providerId="ADAL" clId="{3565D7DC-C2D0-4620-8043-4AC8C985AD7C}" dt="2022-11-21T15:47:55.451" v="843"/>
          <ac:spMkLst>
            <pc:docMk/>
            <pc:sldMk cId="3870781057" sldId="576"/>
            <ac:spMk id="10" creationId="{DB17E863-922E-4C26-BD64-E8FD41D28661}"/>
          </ac:spMkLst>
        </pc:spChg>
        <pc:spChg chg="del">
          <ac:chgData name="Del Olmo Mosteiro, Aixa" userId="53bcf9b9-77e8-4b0b-99b4-eb96a8a4ffd5" providerId="ADAL" clId="{3565D7DC-C2D0-4620-8043-4AC8C985AD7C}" dt="2022-11-21T15:48:14.477" v="855" actId="478"/>
          <ac:spMkLst>
            <pc:docMk/>
            <pc:sldMk cId="3870781057" sldId="576"/>
            <ac:spMk id="12" creationId="{1A96055C-35AC-473F-829A-811A4CADFE7D}"/>
          </ac:spMkLst>
        </pc:spChg>
        <pc:spChg chg="add mod">
          <ac:chgData name="Del Olmo Mosteiro, Aixa" userId="53bcf9b9-77e8-4b0b-99b4-eb96a8a4ffd5" providerId="ADAL" clId="{3565D7DC-C2D0-4620-8043-4AC8C985AD7C}" dt="2022-11-21T15:48:11.396" v="854"/>
          <ac:spMkLst>
            <pc:docMk/>
            <pc:sldMk cId="3870781057" sldId="576"/>
            <ac:spMk id="13" creationId="{251EF93B-18BD-4165-9BD6-D5078D838764}"/>
          </ac:spMkLst>
        </pc:spChg>
        <pc:spChg chg="add mod">
          <ac:chgData name="Del Olmo Mosteiro, Aixa" userId="53bcf9b9-77e8-4b0b-99b4-eb96a8a4ffd5" providerId="ADAL" clId="{3565D7DC-C2D0-4620-8043-4AC8C985AD7C}" dt="2022-11-21T16:51:42.520" v="1957" actId="20577"/>
          <ac:spMkLst>
            <pc:docMk/>
            <pc:sldMk cId="3870781057" sldId="576"/>
            <ac:spMk id="14" creationId="{5B69ED13-3A2C-4A5C-8E5E-17429C83EEC6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16" creationId="{C939BF35-2A4E-4FA7-A663-1B2C68EF0AF2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17" creationId="{E640DCDC-CB2A-46F7-B8EA-0AD31EB3DFDE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18" creationId="{610E2FE1-9C0B-431B-A5FD-F3C39778C2FF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19" creationId="{05F0A3A8-0AE1-4C53-B485-A99ACD30D4C3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20" creationId="{A55E4404-B8E0-4B0D-B871-7DBA41065C55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21" creationId="{1CDAF0FA-8CFE-4AD7-85B0-FB50FF12C6E5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22" creationId="{28F023C3-C1E8-47AB-9C3E-E62115B6E4E9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23" creationId="{12C79F8C-C774-4ACE-974E-374C0D341279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24" creationId="{9DB0E33D-D03C-45AC-87E9-4CA41C64C175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25" creationId="{2C462825-4A27-4F23-B37A-8DD2CE853908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26" creationId="{C1761A75-7D54-455F-A346-36714B35D6A2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27" creationId="{83B4E6B4-AF63-47A6-85B5-F59648C7B228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28" creationId="{1C451B87-CD17-4AFD-B945-687268E05463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29" creationId="{D1C294A3-FF65-4644-81F2-DA066D2DB110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30" creationId="{F1222C56-90C5-4DE2-9D77-22517EA22A39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31" creationId="{C35FD5F3-F8EE-465A-A945-A93C90F76AEB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32" creationId="{2EAAAEA8-47BE-4732-AE60-373C60966154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33" creationId="{F4343011-D03F-482D-96B5-7E8D38F15483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34" creationId="{86E48CFE-5350-465F-8F04-FF8FA3148D88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35" creationId="{5AACF17F-549C-40A1-9739-AC0B504E5E92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36" creationId="{3612679B-313A-4FFB-AE07-49CE36C8E748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37" creationId="{17F665E1-C425-40B1-ACD9-7C2F9B7FC660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38" creationId="{05A3C999-A323-40DB-9703-8B0138F8DE93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39" creationId="{A6826759-6292-4B04-B572-9C9803BDCD3C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40" creationId="{64CAAD3E-A8B9-4696-9AA4-67CD0C8C8517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41" creationId="{C88EB422-6AC7-48CC-BE75-BE62D0F3674D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42" creationId="{525087FF-4B05-4C2C-B22D-E036D2D90582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43" creationId="{33B34A8C-D356-473B-B1DF-E4B290F6BB92}"/>
          </ac:spMkLst>
        </pc:spChg>
        <pc:spChg chg="mod modVis">
          <ac:chgData name="Del Olmo Mosteiro, Aixa" userId="53bcf9b9-77e8-4b0b-99b4-eb96a8a4ffd5" providerId="ADAL" clId="{3565D7DC-C2D0-4620-8043-4AC8C985AD7C}" dt="2022-11-21T16:38:57.111" v="924" actId="1076"/>
          <ac:spMkLst>
            <pc:docMk/>
            <pc:sldMk cId="3870781057" sldId="576"/>
            <ac:spMk id="44" creationId="{26A1F108-1A96-4C5F-B3AA-A99DA6990BDB}"/>
          </ac:spMkLst>
        </pc:spChg>
        <pc:grpChg chg="add mod modVis">
          <ac:chgData name="Del Olmo Mosteiro, Aixa" userId="53bcf9b9-77e8-4b0b-99b4-eb96a8a4ffd5" providerId="ADAL" clId="{3565D7DC-C2D0-4620-8043-4AC8C985AD7C}" dt="2022-11-21T16:38:57.111" v="924" actId="1076"/>
          <ac:grpSpMkLst>
            <pc:docMk/>
            <pc:sldMk cId="3870781057" sldId="576"/>
            <ac:grpSpMk id="15" creationId="{09219290-8678-425F-8F24-D0BBC0E7F4DE}"/>
          </ac:grpSpMkLst>
        </pc:grpChg>
      </pc:sldChg>
      <pc:sldChg chg="delSp modSp add del mod setBg delDesignElem">
        <pc:chgData name="Del Olmo Mosteiro, Aixa" userId="53bcf9b9-77e8-4b0b-99b4-eb96a8a4ffd5" providerId="ADAL" clId="{3565D7DC-C2D0-4620-8043-4AC8C985AD7C}" dt="2022-11-21T16:51:00.438" v="1923" actId="47"/>
        <pc:sldMkLst>
          <pc:docMk/>
          <pc:sldMk cId="223976432" sldId="577"/>
        </pc:sldMkLst>
        <pc:spChg chg="mod">
          <ac:chgData name="Del Olmo Mosteiro, Aixa" userId="53bcf9b9-77e8-4b0b-99b4-eb96a8a4ffd5" providerId="ADAL" clId="{3565D7DC-C2D0-4620-8043-4AC8C985AD7C}" dt="2022-11-21T16:50:51.701" v="1922" actId="20577"/>
          <ac:spMkLst>
            <pc:docMk/>
            <pc:sldMk cId="223976432" sldId="577"/>
            <ac:spMk id="2" creationId="{B9806C6F-4189-4D30-92F8-74DA904402FF}"/>
          </ac:spMkLst>
        </pc:spChg>
        <pc:spChg chg="del">
          <ac:chgData name="Del Olmo Mosteiro, Aixa" userId="53bcf9b9-77e8-4b0b-99b4-eb96a8a4ffd5" providerId="ADAL" clId="{3565D7DC-C2D0-4620-8043-4AC8C985AD7C}" dt="2022-11-21T16:50:46.615" v="1899"/>
          <ac:spMkLst>
            <pc:docMk/>
            <pc:sldMk cId="223976432" sldId="577"/>
            <ac:spMk id="8" creationId="{100EDD19-6802-4EC3-95CE-CFFAB042CFD6}"/>
          </ac:spMkLst>
        </pc:spChg>
        <pc:spChg chg="del">
          <ac:chgData name="Del Olmo Mosteiro, Aixa" userId="53bcf9b9-77e8-4b0b-99b4-eb96a8a4ffd5" providerId="ADAL" clId="{3565D7DC-C2D0-4620-8043-4AC8C985AD7C}" dt="2022-11-21T16:50:46.615" v="1899"/>
          <ac:spMkLst>
            <pc:docMk/>
            <pc:sldMk cId="223976432" sldId="577"/>
            <ac:spMk id="10" creationId="{DB17E863-922E-4C26-BD64-E8FD41D28661}"/>
          </ac:spMkLst>
        </pc:spChg>
      </pc:sldChg>
      <pc:sldChg chg="addSp delSp modSp add mod ord">
        <pc:chgData name="Del Olmo Mosteiro, Aixa" userId="53bcf9b9-77e8-4b0b-99b4-eb96a8a4ffd5" providerId="ADAL" clId="{3565D7DC-C2D0-4620-8043-4AC8C985AD7C}" dt="2022-11-21T17:27:24.548" v="3965" actId="404"/>
        <pc:sldMkLst>
          <pc:docMk/>
          <pc:sldMk cId="399021582" sldId="577"/>
        </pc:sldMkLst>
        <pc:spChg chg="mod">
          <ac:chgData name="Del Olmo Mosteiro, Aixa" userId="53bcf9b9-77e8-4b0b-99b4-eb96a8a4ffd5" providerId="ADAL" clId="{3565D7DC-C2D0-4620-8043-4AC8C985AD7C}" dt="2022-11-21T17:27:24.548" v="3965" actId="404"/>
          <ac:spMkLst>
            <pc:docMk/>
            <pc:sldMk cId="399021582" sldId="577"/>
            <ac:spMk id="2" creationId="{B9806C6F-4189-4D30-92F8-74DA904402FF}"/>
          </ac:spMkLst>
        </pc:spChg>
        <pc:spChg chg="del">
          <ac:chgData name="Del Olmo Mosteiro, Aixa" userId="53bcf9b9-77e8-4b0b-99b4-eb96a8a4ffd5" providerId="ADAL" clId="{3565D7DC-C2D0-4620-8043-4AC8C985AD7C}" dt="2022-11-21T16:51:18.439" v="1950" actId="478"/>
          <ac:spMkLst>
            <pc:docMk/>
            <pc:sldMk cId="399021582" sldId="577"/>
            <ac:spMk id="12" creationId="{1A96055C-35AC-473F-829A-811A4CADFE7D}"/>
          </ac:spMkLst>
        </pc:spChg>
        <pc:spChg chg="add mod">
          <ac:chgData name="Del Olmo Mosteiro, Aixa" userId="53bcf9b9-77e8-4b0b-99b4-eb96a8a4ffd5" providerId="ADAL" clId="{3565D7DC-C2D0-4620-8043-4AC8C985AD7C}" dt="2022-11-21T17:27:14.251" v="3955" actId="14100"/>
          <ac:spMkLst>
            <pc:docMk/>
            <pc:sldMk cId="399021582" sldId="577"/>
            <ac:spMk id="13" creationId="{5D55A84F-9D22-43F2-95D3-4C1EB909A86E}"/>
          </ac:spMkLst>
        </pc:spChg>
        <pc:graphicFrameChg chg="add mod modGraphic">
          <ac:chgData name="Del Olmo Mosteiro, Aixa" userId="53bcf9b9-77e8-4b0b-99b4-eb96a8a4ffd5" providerId="ADAL" clId="{3565D7DC-C2D0-4620-8043-4AC8C985AD7C}" dt="2022-11-21T17:26:55.946" v="3914" actId="1076"/>
          <ac:graphicFrameMkLst>
            <pc:docMk/>
            <pc:sldMk cId="399021582" sldId="577"/>
            <ac:graphicFrameMk id="3" creationId="{164A42A2-09F9-4AF3-959B-A034FAE927AD}"/>
          </ac:graphicFrameMkLst>
        </pc:graphicFrameChg>
      </pc:sldChg>
      <pc:sldChg chg="addSp delSp modSp add mod">
        <pc:chgData name="Del Olmo Mosteiro, Aixa" userId="53bcf9b9-77e8-4b0b-99b4-eb96a8a4ffd5" providerId="ADAL" clId="{3565D7DC-C2D0-4620-8043-4AC8C985AD7C}" dt="2022-11-21T17:23:57.299" v="3708" actId="14100"/>
        <pc:sldMkLst>
          <pc:docMk/>
          <pc:sldMk cId="2601086581" sldId="578"/>
        </pc:sldMkLst>
        <pc:spChg chg="del">
          <ac:chgData name="Del Olmo Mosteiro, Aixa" userId="53bcf9b9-77e8-4b0b-99b4-eb96a8a4ffd5" providerId="ADAL" clId="{3565D7DC-C2D0-4620-8043-4AC8C985AD7C}" dt="2022-11-21T17:20:10.359" v="3339" actId="478"/>
          <ac:spMkLst>
            <pc:docMk/>
            <pc:sldMk cId="2601086581" sldId="578"/>
            <ac:spMk id="2" creationId="{399FE0A1-FCE3-4693-87E5-78A521F903A1}"/>
          </ac:spMkLst>
        </pc:spChg>
        <pc:spChg chg="del">
          <ac:chgData name="Del Olmo Mosteiro, Aixa" userId="53bcf9b9-77e8-4b0b-99b4-eb96a8a4ffd5" providerId="ADAL" clId="{3565D7DC-C2D0-4620-8043-4AC8C985AD7C}" dt="2022-11-21T17:22:36.065" v="3625" actId="478"/>
          <ac:spMkLst>
            <pc:docMk/>
            <pc:sldMk cId="2601086581" sldId="578"/>
            <ac:spMk id="25" creationId="{B445DD52-D66D-4B93-B1F1-D6FA28484E5D}"/>
          </ac:spMkLst>
        </pc:spChg>
        <pc:spChg chg="del">
          <ac:chgData name="Del Olmo Mosteiro, Aixa" userId="53bcf9b9-77e8-4b0b-99b4-eb96a8a4ffd5" providerId="ADAL" clId="{3565D7DC-C2D0-4620-8043-4AC8C985AD7C}" dt="2022-11-21T17:20:10.359" v="3339" actId="478"/>
          <ac:spMkLst>
            <pc:docMk/>
            <pc:sldMk cId="2601086581" sldId="578"/>
            <ac:spMk id="26" creationId="{68EC4232-2D4F-49DA-BCCE-E2273D764891}"/>
          </ac:spMkLst>
        </pc:spChg>
        <pc:spChg chg="del">
          <ac:chgData name="Del Olmo Mosteiro, Aixa" userId="53bcf9b9-77e8-4b0b-99b4-eb96a8a4ffd5" providerId="ADAL" clId="{3565D7DC-C2D0-4620-8043-4AC8C985AD7C}" dt="2022-11-21T17:20:10.359" v="3339" actId="478"/>
          <ac:spMkLst>
            <pc:docMk/>
            <pc:sldMk cId="2601086581" sldId="578"/>
            <ac:spMk id="27" creationId="{4BC1A9F5-AC92-4534-9B45-363548062B5C}"/>
          </ac:spMkLst>
        </pc:spChg>
        <pc:spChg chg="del">
          <ac:chgData name="Del Olmo Mosteiro, Aixa" userId="53bcf9b9-77e8-4b0b-99b4-eb96a8a4ffd5" providerId="ADAL" clId="{3565D7DC-C2D0-4620-8043-4AC8C985AD7C}" dt="2022-11-21T17:20:10.359" v="3339" actId="478"/>
          <ac:spMkLst>
            <pc:docMk/>
            <pc:sldMk cId="2601086581" sldId="578"/>
            <ac:spMk id="28" creationId="{78114032-A588-49B6-B7AD-E1A3D7D365CC}"/>
          </ac:spMkLst>
        </pc:spChg>
        <pc:spChg chg="del">
          <ac:chgData name="Del Olmo Mosteiro, Aixa" userId="53bcf9b9-77e8-4b0b-99b4-eb96a8a4ffd5" providerId="ADAL" clId="{3565D7DC-C2D0-4620-8043-4AC8C985AD7C}" dt="2022-11-21T17:20:10.359" v="3339" actId="478"/>
          <ac:spMkLst>
            <pc:docMk/>
            <pc:sldMk cId="2601086581" sldId="578"/>
            <ac:spMk id="29" creationId="{253B2C97-368D-41C0-888E-55ED7EBD532D}"/>
          </ac:spMkLst>
        </pc:spChg>
        <pc:spChg chg="del">
          <ac:chgData name="Del Olmo Mosteiro, Aixa" userId="53bcf9b9-77e8-4b0b-99b4-eb96a8a4ffd5" providerId="ADAL" clId="{3565D7DC-C2D0-4620-8043-4AC8C985AD7C}" dt="2022-11-21T17:22:34.561" v="3624" actId="478"/>
          <ac:spMkLst>
            <pc:docMk/>
            <pc:sldMk cId="2601086581" sldId="578"/>
            <ac:spMk id="30" creationId="{E1E01046-7104-4F9A-9B06-F6F7775E0380}"/>
          </ac:spMkLst>
        </pc:spChg>
        <pc:spChg chg="del">
          <ac:chgData name="Del Olmo Mosteiro, Aixa" userId="53bcf9b9-77e8-4b0b-99b4-eb96a8a4ffd5" providerId="ADAL" clId="{3565D7DC-C2D0-4620-8043-4AC8C985AD7C}" dt="2022-11-21T17:20:10.359" v="3339" actId="478"/>
          <ac:spMkLst>
            <pc:docMk/>
            <pc:sldMk cId="2601086581" sldId="578"/>
            <ac:spMk id="31" creationId="{BD2EF740-3665-4635-813D-F5A0361D11E8}"/>
          </ac:spMkLst>
        </pc:spChg>
        <pc:spChg chg="del">
          <ac:chgData name="Del Olmo Mosteiro, Aixa" userId="53bcf9b9-77e8-4b0b-99b4-eb96a8a4ffd5" providerId="ADAL" clId="{3565D7DC-C2D0-4620-8043-4AC8C985AD7C}" dt="2022-11-21T17:20:10.359" v="3339" actId="478"/>
          <ac:spMkLst>
            <pc:docMk/>
            <pc:sldMk cId="2601086581" sldId="578"/>
            <ac:spMk id="32" creationId="{16E1B68C-279D-4915-A27C-ECA8FD6D9DF7}"/>
          </ac:spMkLst>
        </pc:spChg>
        <pc:spChg chg="mod">
          <ac:chgData name="Del Olmo Mosteiro, Aixa" userId="53bcf9b9-77e8-4b0b-99b4-eb96a8a4ffd5" providerId="ADAL" clId="{3565D7DC-C2D0-4620-8043-4AC8C985AD7C}" dt="2022-11-21T17:20:30.268" v="3340"/>
          <ac:spMkLst>
            <pc:docMk/>
            <pc:sldMk cId="2601086581" sldId="578"/>
            <ac:spMk id="34" creationId="{C20430E8-0655-4670-AC17-A5A45A986D5F}"/>
          </ac:spMkLst>
        </pc:spChg>
        <pc:spChg chg="mod">
          <ac:chgData name="Del Olmo Mosteiro, Aixa" userId="53bcf9b9-77e8-4b0b-99b4-eb96a8a4ffd5" providerId="ADAL" clId="{3565D7DC-C2D0-4620-8043-4AC8C985AD7C}" dt="2022-11-21T17:20:30.268" v="3340"/>
          <ac:spMkLst>
            <pc:docMk/>
            <pc:sldMk cId="2601086581" sldId="578"/>
            <ac:spMk id="35" creationId="{DD2D2501-1742-4E33-807D-B5A546511186}"/>
          </ac:spMkLst>
        </pc:spChg>
        <pc:spChg chg="mod">
          <ac:chgData name="Del Olmo Mosteiro, Aixa" userId="53bcf9b9-77e8-4b0b-99b4-eb96a8a4ffd5" providerId="ADAL" clId="{3565D7DC-C2D0-4620-8043-4AC8C985AD7C}" dt="2022-11-21T17:23:57.299" v="3708" actId="14100"/>
          <ac:spMkLst>
            <pc:docMk/>
            <pc:sldMk cId="2601086581" sldId="578"/>
            <ac:spMk id="37" creationId="{D28E8BB2-652B-4E92-A28E-DFCBD1501BB4}"/>
          </ac:spMkLst>
        </pc:spChg>
        <pc:spChg chg="mod">
          <ac:chgData name="Del Olmo Mosteiro, Aixa" userId="53bcf9b9-77e8-4b0b-99b4-eb96a8a4ffd5" providerId="ADAL" clId="{3565D7DC-C2D0-4620-8043-4AC8C985AD7C}" dt="2022-11-21T17:23:44.578" v="3704" actId="14100"/>
          <ac:spMkLst>
            <pc:docMk/>
            <pc:sldMk cId="2601086581" sldId="578"/>
            <ac:spMk id="38" creationId="{C13485B4-F095-44AB-A0CD-57A71B6398B1}"/>
          </ac:spMkLst>
        </pc:spChg>
        <pc:spChg chg="mod">
          <ac:chgData name="Del Olmo Mosteiro, Aixa" userId="53bcf9b9-77e8-4b0b-99b4-eb96a8a4ffd5" providerId="ADAL" clId="{3565D7DC-C2D0-4620-8043-4AC8C985AD7C}" dt="2022-11-21T17:23:54.111" v="3707" actId="14100"/>
          <ac:spMkLst>
            <pc:docMk/>
            <pc:sldMk cId="2601086581" sldId="578"/>
            <ac:spMk id="40" creationId="{C54BD975-666A-4C66-90E5-205C75D489F4}"/>
          </ac:spMkLst>
        </pc:spChg>
        <pc:spChg chg="mod">
          <ac:chgData name="Del Olmo Mosteiro, Aixa" userId="53bcf9b9-77e8-4b0b-99b4-eb96a8a4ffd5" providerId="ADAL" clId="{3565D7DC-C2D0-4620-8043-4AC8C985AD7C}" dt="2022-11-21T17:20:05.325" v="3338" actId="20577"/>
          <ac:spMkLst>
            <pc:docMk/>
            <pc:sldMk cId="2601086581" sldId="578"/>
            <ac:spMk id="41" creationId="{00000000-0000-0000-0000-000000000000}"/>
          </ac:spMkLst>
        </pc:spChg>
        <pc:spChg chg="mod">
          <ac:chgData name="Del Olmo Mosteiro, Aixa" userId="53bcf9b9-77e8-4b0b-99b4-eb96a8a4ffd5" providerId="ADAL" clId="{3565D7DC-C2D0-4620-8043-4AC8C985AD7C}" dt="2022-11-21T17:23:47.190" v="3705" actId="14100"/>
          <ac:spMkLst>
            <pc:docMk/>
            <pc:sldMk cId="2601086581" sldId="578"/>
            <ac:spMk id="42" creationId="{423CD1F5-EFF5-48BD-9CE6-F3149404EA53}"/>
          </ac:spMkLst>
        </pc:spChg>
        <pc:spChg chg="del">
          <ac:chgData name="Del Olmo Mosteiro, Aixa" userId="53bcf9b9-77e8-4b0b-99b4-eb96a8a4ffd5" providerId="ADAL" clId="{3565D7DC-C2D0-4620-8043-4AC8C985AD7C}" dt="2022-11-21T17:20:10.359" v="3339" actId="478"/>
          <ac:spMkLst>
            <pc:docMk/>
            <pc:sldMk cId="2601086581" sldId="578"/>
            <ac:spMk id="85" creationId="{731F8485-3F42-4217-B44D-EEFC7E163A3D}"/>
          </ac:spMkLst>
        </pc:spChg>
        <pc:grpChg chg="add del mod">
          <ac:chgData name="Del Olmo Mosteiro, Aixa" userId="53bcf9b9-77e8-4b0b-99b4-eb96a8a4ffd5" providerId="ADAL" clId="{3565D7DC-C2D0-4620-8043-4AC8C985AD7C}" dt="2022-11-21T17:22:08.390" v="3568" actId="478"/>
          <ac:grpSpMkLst>
            <pc:docMk/>
            <pc:sldMk cId="2601086581" sldId="578"/>
            <ac:grpSpMk id="33" creationId="{F26AF0D3-69A2-4ECD-AF66-8831E5856683}"/>
          </ac:grpSpMkLst>
        </pc:grpChg>
        <pc:grpChg chg="add mod">
          <ac:chgData name="Del Olmo Mosteiro, Aixa" userId="53bcf9b9-77e8-4b0b-99b4-eb96a8a4ffd5" providerId="ADAL" clId="{3565D7DC-C2D0-4620-8043-4AC8C985AD7C}" dt="2022-11-21T17:20:30.268" v="3340"/>
          <ac:grpSpMkLst>
            <pc:docMk/>
            <pc:sldMk cId="2601086581" sldId="578"/>
            <ac:grpSpMk id="36" creationId="{8C4AD0DE-E95F-4A0C-A9E3-E43CDED218FF}"/>
          </ac:grpSpMkLst>
        </pc:grpChg>
        <pc:grpChg chg="add mod">
          <ac:chgData name="Del Olmo Mosteiro, Aixa" userId="53bcf9b9-77e8-4b0b-99b4-eb96a8a4ffd5" providerId="ADAL" clId="{3565D7DC-C2D0-4620-8043-4AC8C985AD7C}" dt="2022-11-21T17:22:15.299" v="3570" actId="1076"/>
          <ac:grpSpMkLst>
            <pc:docMk/>
            <pc:sldMk cId="2601086581" sldId="578"/>
            <ac:grpSpMk id="39" creationId="{10D3F666-425F-4F11-AC97-FB00ABD1F163}"/>
          </ac:grpSpMkLst>
        </pc:grpChg>
      </pc:sldChg>
      <pc:sldChg chg="modSp add mod">
        <pc:chgData name="Del Olmo Mosteiro, Aixa" userId="53bcf9b9-77e8-4b0b-99b4-eb96a8a4ffd5" providerId="ADAL" clId="{3565D7DC-C2D0-4620-8043-4AC8C985AD7C}" dt="2022-11-21T17:27:57.024" v="3992" actId="20577"/>
        <pc:sldMkLst>
          <pc:docMk/>
          <pc:sldMk cId="833207636" sldId="579"/>
        </pc:sldMkLst>
        <pc:spChg chg="mod">
          <ac:chgData name="Del Olmo Mosteiro, Aixa" userId="53bcf9b9-77e8-4b0b-99b4-eb96a8a4ffd5" providerId="ADAL" clId="{3565D7DC-C2D0-4620-8043-4AC8C985AD7C}" dt="2022-11-21T17:27:31.870" v="3968" actId="20577"/>
          <ac:spMkLst>
            <pc:docMk/>
            <pc:sldMk cId="833207636" sldId="579"/>
            <ac:spMk id="2" creationId="{B9806C6F-4189-4D30-92F8-74DA904402FF}"/>
          </ac:spMkLst>
        </pc:spChg>
        <pc:spChg chg="mod">
          <ac:chgData name="Del Olmo Mosteiro, Aixa" userId="53bcf9b9-77e8-4b0b-99b4-eb96a8a4ffd5" providerId="ADAL" clId="{3565D7DC-C2D0-4620-8043-4AC8C985AD7C}" dt="2022-11-21T17:27:34.900" v="3975" actId="20577"/>
          <ac:spMkLst>
            <pc:docMk/>
            <pc:sldMk cId="833207636" sldId="579"/>
            <ac:spMk id="13" creationId="{5D55A84F-9D22-43F2-95D3-4C1EB909A86E}"/>
          </ac:spMkLst>
        </pc:spChg>
        <pc:graphicFrameChg chg="modGraphic">
          <ac:chgData name="Del Olmo Mosteiro, Aixa" userId="53bcf9b9-77e8-4b0b-99b4-eb96a8a4ffd5" providerId="ADAL" clId="{3565D7DC-C2D0-4620-8043-4AC8C985AD7C}" dt="2022-11-21T17:27:57.024" v="3992" actId="20577"/>
          <ac:graphicFrameMkLst>
            <pc:docMk/>
            <pc:sldMk cId="833207636" sldId="579"/>
            <ac:graphicFrameMk id="3" creationId="{164A42A2-09F9-4AF3-959B-A034FAE927AD}"/>
          </ac:graphicFrameMkLst>
        </pc:graphicFrameChg>
      </pc:sldChg>
      <pc:sldChg chg="modSp add mod">
        <pc:chgData name="Del Olmo Mosteiro, Aixa" userId="53bcf9b9-77e8-4b0b-99b4-eb96a8a4ffd5" providerId="ADAL" clId="{3565D7DC-C2D0-4620-8043-4AC8C985AD7C}" dt="2022-11-21T17:29:12.791" v="4080" actId="20577"/>
        <pc:sldMkLst>
          <pc:docMk/>
          <pc:sldMk cId="3025148568" sldId="580"/>
        </pc:sldMkLst>
        <pc:spChg chg="mod">
          <ac:chgData name="Del Olmo Mosteiro, Aixa" userId="53bcf9b9-77e8-4b0b-99b4-eb96a8a4ffd5" providerId="ADAL" clId="{3565D7DC-C2D0-4620-8043-4AC8C985AD7C}" dt="2022-11-21T17:28:03.967" v="3995" actId="20577"/>
          <ac:spMkLst>
            <pc:docMk/>
            <pc:sldMk cId="3025148568" sldId="580"/>
            <ac:spMk id="2" creationId="{B9806C6F-4189-4D30-92F8-74DA904402FF}"/>
          </ac:spMkLst>
        </pc:spChg>
        <pc:spChg chg="mod">
          <ac:chgData name="Del Olmo Mosteiro, Aixa" userId="53bcf9b9-77e8-4b0b-99b4-eb96a8a4ffd5" providerId="ADAL" clId="{3565D7DC-C2D0-4620-8043-4AC8C985AD7C}" dt="2022-11-21T17:29:12.791" v="4080" actId="20577"/>
          <ac:spMkLst>
            <pc:docMk/>
            <pc:sldMk cId="3025148568" sldId="580"/>
            <ac:spMk id="13" creationId="{5D55A84F-9D22-43F2-95D3-4C1EB909A86E}"/>
          </ac:spMkLst>
        </pc:spChg>
        <pc:graphicFrameChg chg="mod modGraphic">
          <ac:chgData name="Del Olmo Mosteiro, Aixa" userId="53bcf9b9-77e8-4b0b-99b4-eb96a8a4ffd5" providerId="ADAL" clId="{3565D7DC-C2D0-4620-8043-4AC8C985AD7C}" dt="2022-11-21T17:29:08.276" v="4060" actId="14734"/>
          <ac:graphicFrameMkLst>
            <pc:docMk/>
            <pc:sldMk cId="3025148568" sldId="580"/>
            <ac:graphicFrameMk id="3" creationId="{164A42A2-09F9-4AF3-959B-A034FAE927AD}"/>
          </ac:graphicFrameMkLst>
        </pc:graphicFrameChg>
      </pc:sldChg>
      <pc:sldChg chg="addSp delSp modSp add mod modClrScheme chgLayout">
        <pc:chgData name="Del Olmo Mosteiro, Aixa" userId="53bcf9b9-77e8-4b0b-99b4-eb96a8a4ffd5" providerId="ADAL" clId="{3565D7DC-C2D0-4620-8043-4AC8C985AD7C}" dt="2022-11-21T17:30:58.037" v="4130" actId="207"/>
        <pc:sldMkLst>
          <pc:docMk/>
          <pc:sldMk cId="736685036" sldId="581"/>
        </pc:sldMkLst>
        <pc:spChg chg="mod">
          <ac:chgData name="Del Olmo Mosteiro, Aixa" userId="53bcf9b9-77e8-4b0b-99b4-eb96a8a4ffd5" providerId="ADAL" clId="{3565D7DC-C2D0-4620-8043-4AC8C985AD7C}" dt="2022-11-21T17:30:58.037" v="4130" actId="207"/>
          <ac:spMkLst>
            <pc:docMk/>
            <pc:sldMk cId="736685036" sldId="581"/>
            <ac:spMk id="11" creationId="{4C628537-E1EB-41CF-93C5-1BCE5111151B}"/>
          </ac:spMkLst>
        </pc:spChg>
        <pc:spChg chg="mod">
          <ac:chgData name="Del Olmo Mosteiro, Aixa" userId="53bcf9b9-77e8-4b0b-99b4-eb96a8a4ffd5" providerId="ADAL" clId="{3565D7DC-C2D0-4620-8043-4AC8C985AD7C}" dt="2022-11-21T17:30:26.909" v="4091"/>
          <ac:spMkLst>
            <pc:docMk/>
            <pc:sldMk cId="736685036" sldId="581"/>
            <ac:spMk id="15" creationId="{2964E0A5-E274-43FD-9673-F482F827EBF7}"/>
          </ac:spMkLst>
        </pc:spChg>
        <pc:spChg chg="mod">
          <ac:chgData name="Del Olmo Mosteiro, Aixa" userId="53bcf9b9-77e8-4b0b-99b4-eb96a8a4ffd5" providerId="ADAL" clId="{3565D7DC-C2D0-4620-8043-4AC8C985AD7C}" dt="2022-11-21T17:30:26.909" v="4091"/>
          <ac:spMkLst>
            <pc:docMk/>
            <pc:sldMk cId="736685036" sldId="581"/>
            <ac:spMk id="16" creationId="{C91AC3D7-AF23-4C6C-B6AA-DE308F1C1B8A}"/>
          </ac:spMkLst>
        </pc:spChg>
        <pc:spChg chg="mod">
          <ac:chgData name="Del Olmo Mosteiro, Aixa" userId="53bcf9b9-77e8-4b0b-99b4-eb96a8a4ffd5" providerId="ADAL" clId="{3565D7DC-C2D0-4620-8043-4AC8C985AD7C}" dt="2022-11-21T17:30:26.909" v="4091"/>
          <ac:spMkLst>
            <pc:docMk/>
            <pc:sldMk cId="736685036" sldId="581"/>
            <ac:spMk id="17" creationId="{DA78880E-7AEC-433A-97C2-A1D5FBAB7AE2}"/>
          </ac:spMkLst>
        </pc:spChg>
        <pc:spChg chg="mod">
          <ac:chgData name="Del Olmo Mosteiro, Aixa" userId="53bcf9b9-77e8-4b0b-99b4-eb96a8a4ffd5" providerId="ADAL" clId="{3565D7DC-C2D0-4620-8043-4AC8C985AD7C}" dt="2022-11-21T17:30:26.909" v="4091"/>
          <ac:spMkLst>
            <pc:docMk/>
            <pc:sldMk cId="736685036" sldId="581"/>
            <ac:spMk id="18" creationId="{CA6FDF11-0060-42FC-87E1-8D9FE31F0233}"/>
          </ac:spMkLst>
        </pc:spChg>
        <pc:grpChg chg="del">
          <ac:chgData name="Del Olmo Mosteiro, Aixa" userId="53bcf9b9-77e8-4b0b-99b4-eb96a8a4ffd5" providerId="ADAL" clId="{3565D7DC-C2D0-4620-8043-4AC8C985AD7C}" dt="2022-11-21T17:30:15.475" v="4090" actId="478"/>
          <ac:grpSpMkLst>
            <pc:docMk/>
            <pc:sldMk cId="736685036" sldId="581"/>
            <ac:grpSpMk id="5" creationId="{C3152FCF-27C4-497E-B53A-4E16D8BF3BD4}"/>
          </ac:grpSpMkLst>
        </pc:grpChg>
        <pc:grpChg chg="add mod">
          <ac:chgData name="Del Olmo Mosteiro, Aixa" userId="53bcf9b9-77e8-4b0b-99b4-eb96a8a4ffd5" providerId="ADAL" clId="{3565D7DC-C2D0-4620-8043-4AC8C985AD7C}" dt="2022-11-21T17:30:32.442" v="4094" actId="14100"/>
          <ac:grpSpMkLst>
            <pc:docMk/>
            <pc:sldMk cId="736685036" sldId="581"/>
            <ac:grpSpMk id="14" creationId="{B38460BC-3761-4823-855A-61F875309A26}"/>
          </ac:grpSpMkLst>
        </pc:grpChg>
      </pc:sldChg>
      <pc:sldChg chg="modSp add mod">
        <pc:chgData name="Del Olmo Mosteiro, Aixa" userId="53bcf9b9-77e8-4b0b-99b4-eb96a8a4ffd5" providerId="ADAL" clId="{3565D7DC-C2D0-4620-8043-4AC8C985AD7C}" dt="2022-11-21T17:32:31.188" v="4395" actId="207"/>
        <pc:sldMkLst>
          <pc:docMk/>
          <pc:sldMk cId="2826950467" sldId="582"/>
        </pc:sldMkLst>
        <pc:spChg chg="mod">
          <ac:chgData name="Del Olmo Mosteiro, Aixa" userId="53bcf9b9-77e8-4b0b-99b4-eb96a8a4ffd5" providerId="ADAL" clId="{3565D7DC-C2D0-4620-8043-4AC8C985AD7C}" dt="2022-11-21T17:32:03.337" v="4347" actId="20577"/>
          <ac:spMkLst>
            <pc:docMk/>
            <pc:sldMk cId="2826950467" sldId="582"/>
            <ac:spMk id="2" creationId="{63DB8343-0D9A-4953-8BCA-E1251E1AACF0}"/>
          </ac:spMkLst>
        </pc:spChg>
        <pc:spChg chg="mod">
          <ac:chgData name="Del Olmo Mosteiro, Aixa" userId="53bcf9b9-77e8-4b0b-99b4-eb96a8a4ffd5" providerId="ADAL" clId="{3565D7DC-C2D0-4620-8043-4AC8C985AD7C}" dt="2022-11-21T17:32:31.188" v="4395" actId="207"/>
          <ac:spMkLst>
            <pc:docMk/>
            <pc:sldMk cId="2826950467" sldId="582"/>
            <ac:spMk id="5" creationId="{931B83AA-06E7-4AE8-A532-7CE5C8770AAB}"/>
          </ac:spMkLst>
        </pc:spChg>
        <pc:spChg chg="mod">
          <ac:chgData name="Del Olmo Mosteiro, Aixa" userId="53bcf9b9-77e8-4b0b-99b4-eb96a8a4ffd5" providerId="ADAL" clId="{3565D7DC-C2D0-4620-8043-4AC8C985AD7C}" dt="2022-11-21T17:32:10.153" v="4348" actId="207"/>
          <ac:spMkLst>
            <pc:docMk/>
            <pc:sldMk cId="2826950467" sldId="582"/>
            <ac:spMk id="8" creationId="{73A7F254-3ECA-4D2B-99ED-11AD8ECAC6C3}"/>
          </ac:spMkLst>
        </pc:spChg>
        <pc:spChg chg="mod">
          <ac:chgData name="Del Olmo Mosteiro, Aixa" userId="53bcf9b9-77e8-4b0b-99b4-eb96a8a4ffd5" providerId="ADAL" clId="{3565D7DC-C2D0-4620-8043-4AC8C985AD7C}" dt="2022-11-21T17:31:58.077" v="4328" actId="207"/>
          <ac:spMkLst>
            <pc:docMk/>
            <pc:sldMk cId="2826950467" sldId="582"/>
            <ac:spMk id="9" creationId="{09C7B543-C6A1-40DF-9999-CF0B412A4E88}"/>
          </ac:spMkLst>
        </pc:spChg>
        <pc:spChg chg="mod">
          <ac:chgData name="Del Olmo Mosteiro, Aixa" userId="53bcf9b9-77e8-4b0b-99b4-eb96a8a4ffd5" providerId="ADAL" clId="{3565D7DC-C2D0-4620-8043-4AC8C985AD7C}" dt="2022-11-21T17:31:53.568" v="4327" actId="207"/>
          <ac:spMkLst>
            <pc:docMk/>
            <pc:sldMk cId="2826950467" sldId="582"/>
            <ac:spMk id="11" creationId="{B8F6DD7E-28AC-4934-9AE4-0E1ABC25AF46}"/>
          </ac:spMkLst>
        </pc:spChg>
      </pc:sldChg>
      <pc:sldChg chg="addSp delSp modSp add del mod setBg delDesignElem">
        <pc:chgData name="Del Olmo Mosteiro, Aixa" userId="53bcf9b9-77e8-4b0b-99b4-eb96a8a4ffd5" providerId="ADAL" clId="{3565D7DC-C2D0-4620-8043-4AC8C985AD7C}" dt="2022-11-21T17:34:58.486" v="4446" actId="47"/>
        <pc:sldMkLst>
          <pc:docMk/>
          <pc:sldMk cId="2262701313" sldId="583"/>
        </pc:sldMkLst>
        <pc:spChg chg="add del mod">
          <ac:chgData name="Del Olmo Mosteiro, Aixa" userId="53bcf9b9-77e8-4b0b-99b4-eb96a8a4ffd5" providerId="ADAL" clId="{3565D7DC-C2D0-4620-8043-4AC8C985AD7C}" dt="2022-11-21T17:34:54.690" v="4444" actId="478"/>
          <ac:spMkLst>
            <pc:docMk/>
            <pc:sldMk cId="2262701313" sldId="583"/>
            <ac:spMk id="3" creationId="{0D4255F1-2953-4143-9C73-C29D2BF9B7B1}"/>
          </ac:spMkLst>
        </pc:spChg>
        <pc:spChg chg="add del mod">
          <ac:chgData name="Del Olmo Mosteiro, Aixa" userId="53bcf9b9-77e8-4b0b-99b4-eb96a8a4ffd5" providerId="ADAL" clId="{3565D7DC-C2D0-4620-8043-4AC8C985AD7C}" dt="2022-11-21T17:34:54.690" v="4444" actId="478"/>
          <ac:spMkLst>
            <pc:docMk/>
            <pc:sldMk cId="2262701313" sldId="583"/>
            <ac:spMk id="5" creationId="{8D387991-5E6B-4533-88B1-580A1DE8CBC6}"/>
          </ac:spMkLst>
        </pc:spChg>
        <pc:spChg chg="del">
          <ac:chgData name="Del Olmo Mosteiro, Aixa" userId="53bcf9b9-77e8-4b0b-99b4-eb96a8a4ffd5" providerId="ADAL" clId="{3565D7DC-C2D0-4620-8043-4AC8C985AD7C}" dt="2022-11-21T17:30:08.708" v="4088"/>
          <ac:spMkLst>
            <pc:docMk/>
            <pc:sldMk cId="2262701313" sldId="583"/>
            <ac:spMk id="8" creationId="{100EDD19-6802-4EC3-95CE-CFFAB042CFD6}"/>
          </ac:spMkLst>
        </pc:spChg>
        <pc:spChg chg="del">
          <ac:chgData name="Del Olmo Mosteiro, Aixa" userId="53bcf9b9-77e8-4b0b-99b4-eb96a8a4ffd5" providerId="ADAL" clId="{3565D7DC-C2D0-4620-8043-4AC8C985AD7C}" dt="2022-11-21T17:30:08.708" v="4088"/>
          <ac:spMkLst>
            <pc:docMk/>
            <pc:sldMk cId="2262701313" sldId="583"/>
            <ac:spMk id="10" creationId="{DB17E863-922E-4C26-BD64-E8FD41D28661}"/>
          </ac:spMkLst>
        </pc:spChg>
        <pc:spChg chg="add mod">
          <ac:chgData name="Del Olmo Mosteiro, Aixa" userId="53bcf9b9-77e8-4b0b-99b4-eb96a8a4ffd5" providerId="ADAL" clId="{3565D7DC-C2D0-4620-8043-4AC8C985AD7C}" dt="2022-11-21T17:34:26.770" v="4437"/>
          <ac:spMkLst>
            <pc:docMk/>
            <pc:sldMk cId="2262701313" sldId="583"/>
            <ac:spMk id="12" creationId="{9AA40719-2582-4AD7-9879-7434D4F9378C}"/>
          </ac:spMkLst>
        </pc:spChg>
      </pc:sldChg>
      <pc:sldChg chg="delSp add del setBg delDesignElem">
        <pc:chgData name="Del Olmo Mosteiro, Aixa" userId="53bcf9b9-77e8-4b0b-99b4-eb96a8a4ffd5" providerId="ADAL" clId="{3565D7DC-C2D0-4620-8043-4AC8C985AD7C}" dt="2022-11-21T17:35:24.775" v="4454" actId="47"/>
        <pc:sldMkLst>
          <pc:docMk/>
          <pc:sldMk cId="362464067" sldId="584"/>
        </pc:sldMkLst>
        <pc:spChg chg="del">
          <ac:chgData name="Del Olmo Mosteiro, Aixa" userId="53bcf9b9-77e8-4b0b-99b4-eb96a8a4ffd5" providerId="ADAL" clId="{3565D7DC-C2D0-4620-8043-4AC8C985AD7C}" dt="2022-11-21T17:30:08.708" v="4088"/>
          <ac:spMkLst>
            <pc:docMk/>
            <pc:sldMk cId="362464067" sldId="584"/>
            <ac:spMk id="8" creationId="{100EDD19-6802-4EC3-95CE-CFFAB042CFD6}"/>
          </ac:spMkLst>
        </pc:spChg>
        <pc:spChg chg="del">
          <ac:chgData name="Del Olmo Mosteiro, Aixa" userId="53bcf9b9-77e8-4b0b-99b4-eb96a8a4ffd5" providerId="ADAL" clId="{3565D7DC-C2D0-4620-8043-4AC8C985AD7C}" dt="2022-11-21T17:30:08.708" v="4088"/>
          <ac:spMkLst>
            <pc:docMk/>
            <pc:sldMk cId="362464067" sldId="584"/>
            <ac:spMk id="10" creationId="{DB17E863-922E-4C26-BD64-E8FD41D28661}"/>
          </ac:spMkLst>
        </pc:spChg>
      </pc:sldChg>
      <pc:sldChg chg="delSp add del setBg delDesignElem">
        <pc:chgData name="Del Olmo Mosteiro, Aixa" userId="53bcf9b9-77e8-4b0b-99b4-eb96a8a4ffd5" providerId="ADAL" clId="{3565D7DC-C2D0-4620-8043-4AC8C985AD7C}" dt="2022-11-21T17:36:48.829" v="4458" actId="47"/>
        <pc:sldMkLst>
          <pc:docMk/>
          <pc:sldMk cId="1398477628" sldId="585"/>
        </pc:sldMkLst>
        <pc:spChg chg="del">
          <ac:chgData name="Del Olmo Mosteiro, Aixa" userId="53bcf9b9-77e8-4b0b-99b4-eb96a8a4ffd5" providerId="ADAL" clId="{3565D7DC-C2D0-4620-8043-4AC8C985AD7C}" dt="2022-11-21T17:30:08.708" v="4088"/>
          <ac:spMkLst>
            <pc:docMk/>
            <pc:sldMk cId="1398477628" sldId="585"/>
            <ac:spMk id="8" creationId="{100EDD19-6802-4EC3-95CE-CFFAB042CFD6}"/>
          </ac:spMkLst>
        </pc:spChg>
        <pc:spChg chg="del">
          <ac:chgData name="Del Olmo Mosteiro, Aixa" userId="53bcf9b9-77e8-4b0b-99b4-eb96a8a4ffd5" providerId="ADAL" clId="{3565D7DC-C2D0-4620-8043-4AC8C985AD7C}" dt="2022-11-21T17:30:08.708" v="4088"/>
          <ac:spMkLst>
            <pc:docMk/>
            <pc:sldMk cId="1398477628" sldId="585"/>
            <ac:spMk id="10" creationId="{DB17E863-922E-4C26-BD64-E8FD41D28661}"/>
          </ac:spMkLst>
        </pc:spChg>
      </pc:sldChg>
      <pc:sldChg chg="delSp add del setBg delDesignElem">
        <pc:chgData name="Del Olmo Mosteiro, Aixa" userId="53bcf9b9-77e8-4b0b-99b4-eb96a8a4ffd5" providerId="ADAL" clId="{3565D7DC-C2D0-4620-8043-4AC8C985AD7C}" dt="2022-11-21T17:38:29.534" v="4575" actId="47"/>
        <pc:sldMkLst>
          <pc:docMk/>
          <pc:sldMk cId="225445906" sldId="586"/>
        </pc:sldMkLst>
        <pc:spChg chg="del">
          <ac:chgData name="Del Olmo Mosteiro, Aixa" userId="53bcf9b9-77e8-4b0b-99b4-eb96a8a4ffd5" providerId="ADAL" clId="{3565D7DC-C2D0-4620-8043-4AC8C985AD7C}" dt="2022-11-21T17:30:08.708" v="4088"/>
          <ac:spMkLst>
            <pc:docMk/>
            <pc:sldMk cId="225445906" sldId="586"/>
            <ac:spMk id="8" creationId="{100EDD19-6802-4EC3-95CE-CFFAB042CFD6}"/>
          </ac:spMkLst>
        </pc:spChg>
        <pc:spChg chg="del">
          <ac:chgData name="Del Olmo Mosteiro, Aixa" userId="53bcf9b9-77e8-4b0b-99b4-eb96a8a4ffd5" providerId="ADAL" clId="{3565D7DC-C2D0-4620-8043-4AC8C985AD7C}" dt="2022-11-21T17:30:08.708" v="4088"/>
          <ac:spMkLst>
            <pc:docMk/>
            <pc:sldMk cId="225445906" sldId="586"/>
            <ac:spMk id="10" creationId="{DB17E863-922E-4C26-BD64-E8FD41D28661}"/>
          </ac:spMkLst>
        </pc:spChg>
      </pc:sldChg>
      <pc:sldChg chg="add del">
        <pc:chgData name="Del Olmo Mosteiro, Aixa" userId="53bcf9b9-77e8-4b0b-99b4-eb96a8a4ffd5" providerId="ADAL" clId="{3565D7DC-C2D0-4620-8043-4AC8C985AD7C}" dt="2022-11-21T17:38:35.065" v="4576" actId="47"/>
        <pc:sldMkLst>
          <pc:docMk/>
          <pc:sldMk cId="3963765137" sldId="587"/>
        </pc:sldMkLst>
      </pc:sldChg>
      <pc:sldChg chg="delSp modSp add mod">
        <pc:chgData name="Del Olmo Mosteiro, Aixa" userId="53bcf9b9-77e8-4b0b-99b4-eb96a8a4ffd5" providerId="ADAL" clId="{3565D7DC-C2D0-4620-8043-4AC8C985AD7C}" dt="2022-11-21T17:43:35.929" v="5205" actId="207"/>
        <pc:sldMkLst>
          <pc:docMk/>
          <pc:sldMk cId="505076135" sldId="588"/>
        </pc:sldMkLst>
        <pc:spChg chg="mod">
          <ac:chgData name="Del Olmo Mosteiro, Aixa" userId="53bcf9b9-77e8-4b0b-99b4-eb96a8a4ffd5" providerId="ADAL" clId="{3565D7DC-C2D0-4620-8043-4AC8C985AD7C}" dt="2022-11-21T17:43:28.267" v="5202" actId="207"/>
          <ac:spMkLst>
            <pc:docMk/>
            <pc:sldMk cId="505076135" sldId="588"/>
            <ac:spMk id="37" creationId="{D28E8BB2-652B-4E92-A28E-DFCBD1501BB4}"/>
          </ac:spMkLst>
        </pc:spChg>
        <pc:spChg chg="mod">
          <ac:chgData name="Del Olmo Mosteiro, Aixa" userId="53bcf9b9-77e8-4b0b-99b4-eb96a8a4ffd5" providerId="ADAL" clId="{3565D7DC-C2D0-4620-8043-4AC8C985AD7C}" dt="2022-11-21T17:39:02.538" v="4657" actId="20577"/>
          <ac:spMkLst>
            <pc:docMk/>
            <pc:sldMk cId="505076135" sldId="588"/>
            <ac:spMk id="38" creationId="{C13485B4-F095-44AB-A0CD-57A71B6398B1}"/>
          </ac:spMkLst>
        </pc:spChg>
        <pc:spChg chg="mod">
          <ac:chgData name="Del Olmo Mosteiro, Aixa" userId="53bcf9b9-77e8-4b0b-99b4-eb96a8a4ffd5" providerId="ADAL" clId="{3565D7DC-C2D0-4620-8043-4AC8C985AD7C}" dt="2022-11-21T17:43:35.929" v="5205" actId="207"/>
          <ac:spMkLst>
            <pc:docMk/>
            <pc:sldMk cId="505076135" sldId="588"/>
            <ac:spMk id="40" creationId="{C54BD975-666A-4C66-90E5-205C75D489F4}"/>
          </ac:spMkLst>
        </pc:spChg>
        <pc:spChg chg="mod">
          <ac:chgData name="Del Olmo Mosteiro, Aixa" userId="53bcf9b9-77e8-4b0b-99b4-eb96a8a4ffd5" providerId="ADAL" clId="{3565D7DC-C2D0-4620-8043-4AC8C985AD7C}" dt="2022-11-21T17:38:47.366" v="4617" actId="20577"/>
          <ac:spMkLst>
            <pc:docMk/>
            <pc:sldMk cId="505076135" sldId="588"/>
            <ac:spMk id="41" creationId="{00000000-0000-0000-0000-000000000000}"/>
          </ac:spMkLst>
        </pc:spChg>
        <pc:spChg chg="mod">
          <ac:chgData name="Del Olmo Mosteiro, Aixa" userId="53bcf9b9-77e8-4b0b-99b4-eb96a8a4ffd5" providerId="ADAL" clId="{3565D7DC-C2D0-4620-8043-4AC8C985AD7C}" dt="2022-11-21T17:42:18.797" v="4967" actId="20577"/>
          <ac:spMkLst>
            <pc:docMk/>
            <pc:sldMk cId="505076135" sldId="588"/>
            <ac:spMk id="42" creationId="{423CD1F5-EFF5-48BD-9CE6-F3149404EA53}"/>
          </ac:spMkLst>
        </pc:spChg>
        <pc:grpChg chg="mod">
          <ac:chgData name="Del Olmo Mosteiro, Aixa" userId="53bcf9b9-77e8-4b0b-99b4-eb96a8a4ffd5" providerId="ADAL" clId="{3565D7DC-C2D0-4620-8043-4AC8C985AD7C}" dt="2022-11-21T17:41:43.531" v="4911" actId="14100"/>
          <ac:grpSpMkLst>
            <pc:docMk/>
            <pc:sldMk cId="505076135" sldId="588"/>
            <ac:grpSpMk id="36" creationId="{8C4AD0DE-E95F-4A0C-A9E3-E43CDED218FF}"/>
          </ac:grpSpMkLst>
        </pc:grpChg>
        <pc:grpChg chg="mod">
          <ac:chgData name="Del Olmo Mosteiro, Aixa" userId="53bcf9b9-77e8-4b0b-99b4-eb96a8a4ffd5" providerId="ADAL" clId="{3565D7DC-C2D0-4620-8043-4AC8C985AD7C}" dt="2022-11-21T17:42:06.797" v="4915" actId="14100"/>
          <ac:grpSpMkLst>
            <pc:docMk/>
            <pc:sldMk cId="505076135" sldId="588"/>
            <ac:grpSpMk id="39" creationId="{10D3F666-425F-4F11-AC97-FB00ABD1F163}"/>
          </ac:grpSpMkLst>
        </pc:grpChg>
        <pc:grpChg chg="del">
          <ac:chgData name="Del Olmo Mosteiro, Aixa" userId="53bcf9b9-77e8-4b0b-99b4-eb96a8a4ffd5" providerId="ADAL" clId="{3565D7DC-C2D0-4620-8043-4AC8C985AD7C}" dt="2022-11-21T17:38:50.545" v="4618" actId="478"/>
          <ac:grpSpMkLst>
            <pc:docMk/>
            <pc:sldMk cId="505076135" sldId="588"/>
            <ac:grpSpMk id="150" creationId="{8022A045-6247-4923-AC1F-981413470ED0}"/>
          </ac:grpSpMkLst>
        </pc:grpChg>
        <pc:picChg chg="del">
          <ac:chgData name="Del Olmo Mosteiro, Aixa" userId="53bcf9b9-77e8-4b0b-99b4-eb96a8a4ffd5" providerId="ADAL" clId="{3565D7DC-C2D0-4620-8043-4AC8C985AD7C}" dt="2022-11-21T17:38:50.545" v="4618" actId="478"/>
          <ac:picMkLst>
            <pc:docMk/>
            <pc:sldMk cId="505076135" sldId="588"/>
            <ac:picMk id="3" creationId="{080C076A-F536-4939-B59E-092A09DDCAEB}"/>
          </ac:picMkLst>
        </pc:picChg>
        <pc:picChg chg="del">
          <ac:chgData name="Del Olmo Mosteiro, Aixa" userId="53bcf9b9-77e8-4b0b-99b4-eb96a8a4ffd5" providerId="ADAL" clId="{3565D7DC-C2D0-4620-8043-4AC8C985AD7C}" dt="2022-11-21T17:38:50.545" v="4618" actId="478"/>
          <ac:picMkLst>
            <pc:docMk/>
            <pc:sldMk cId="505076135" sldId="588"/>
            <ac:picMk id="6" creationId="{AF89D9E3-9F85-4B3F-B8C4-84DB18B09A6F}"/>
          </ac:picMkLst>
        </pc:picChg>
      </pc:sldChg>
      <pc:sldChg chg="delSp modSp add del mod setBg delDesignElem">
        <pc:chgData name="Del Olmo Mosteiro, Aixa" userId="53bcf9b9-77e8-4b0b-99b4-eb96a8a4ffd5" providerId="ADAL" clId="{3565D7DC-C2D0-4620-8043-4AC8C985AD7C}" dt="2022-11-21T17:45:35.828" v="5237" actId="47"/>
        <pc:sldMkLst>
          <pc:docMk/>
          <pc:sldMk cId="285972151" sldId="589"/>
        </pc:sldMkLst>
        <pc:spChg chg="mod">
          <ac:chgData name="Del Olmo Mosteiro, Aixa" userId="53bcf9b9-77e8-4b0b-99b4-eb96a8a4ffd5" providerId="ADAL" clId="{3565D7DC-C2D0-4620-8043-4AC8C985AD7C}" dt="2022-11-21T17:44:15.784" v="5206" actId="20577"/>
          <ac:spMkLst>
            <pc:docMk/>
            <pc:sldMk cId="285972151" sldId="589"/>
            <ac:spMk id="2" creationId="{B9806C6F-4189-4D30-92F8-74DA904402FF}"/>
          </ac:spMkLst>
        </pc:spChg>
        <pc:spChg chg="del">
          <ac:chgData name="Del Olmo Mosteiro, Aixa" userId="53bcf9b9-77e8-4b0b-99b4-eb96a8a4ffd5" providerId="ADAL" clId="{3565D7DC-C2D0-4620-8043-4AC8C985AD7C}" dt="2022-11-21T17:30:08.708" v="4088"/>
          <ac:spMkLst>
            <pc:docMk/>
            <pc:sldMk cId="285972151" sldId="589"/>
            <ac:spMk id="8" creationId="{100EDD19-6802-4EC3-95CE-CFFAB042CFD6}"/>
          </ac:spMkLst>
        </pc:spChg>
        <pc:spChg chg="del">
          <ac:chgData name="Del Olmo Mosteiro, Aixa" userId="53bcf9b9-77e8-4b0b-99b4-eb96a8a4ffd5" providerId="ADAL" clId="{3565D7DC-C2D0-4620-8043-4AC8C985AD7C}" dt="2022-11-21T17:30:08.708" v="4088"/>
          <ac:spMkLst>
            <pc:docMk/>
            <pc:sldMk cId="285972151" sldId="589"/>
            <ac:spMk id="10" creationId="{DB17E863-922E-4C26-BD64-E8FD41D28661}"/>
          </ac:spMkLst>
        </pc:spChg>
        <pc:spChg chg="mod">
          <ac:chgData name="Del Olmo Mosteiro, Aixa" userId="53bcf9b9-77e8-4b0b-99b4-eb96a8a4ffd5" providerId="ADAL" clId="{3565D7DC-C2D0-4620-8043-4AC8C985AD7C}" dt="2022-11-21T17:44:59.164" v="5226" actId="113"/>
          <ac:spMkLst>
            <pc:docMk/>
            <pc:sldMk cId="285972151" sldId="589"/>
            <ac:spMk id="13" creationId="{5D55A84F-9D22-43F2-95D3-4C1EB909A86E}"/>
          </ac:spMkLst>
        </pc:spChg>
        <pc:graphicFrameChg chg="del">
          <ac:chgData name="Del Olmo Mosteiro, Aixa" userId="53bcf9b9-77e8-4b0b-99b4-eb96a8a4ffd5" providerId="ADAL" clId="{3565D7DC-C2D0-4620-8043-4AC8C985AD7C}" dt="2022-11-21T17:44:23.810" v="5207" actId="478"/>
          <ac:graphicFrameMkLst>
            <pc:docMk/>
            <pc:sldMk cId="285972151" sldId="589"/>
            <ac:graphicFrameMk id="3" creationId="{164A42A2-09F9-4AF3-959B-A034FAE927AD}"/>
          </ac:graphicFrameMkLst>
        </pc:graphicFrameChg>
      </pc:sldChg>
      <pc:sldChg chg="delSp add del setBg delDesignElem">
        <pc:chgData name="Del Olmo Mosteiro, Aixa" userId="53bcf9b9-77e8-4b0b-99b4-eb96a8a4ffd5" providerId="ADAL" clId="{3565D7DC-C2D0-4620-8043-4AC8C985AD7C}" dt="2022-11-21T17:45:10.866" v="5227" actId="47"/>
        <pc:sldMkLst>
          <pc:docMk/>
          <pc:sldMk cId="1948818331" sldId="590"/>
        </pc:sldMkLst>
        <pc:spChg chg="del">
          <ac:chgData name="Del Olmo Mosteiro, Aixa" userId="53bcf9b9-77e8-4b0b-99b4-eb96a8a4ffd5" providerId="ADAL" clId="{3565D7DC-C2D0-4620-8043-4AC8C985AD7C}" dt="2022-11-21T17:30:08.708" v="4088"/>
          <ac:spMkLst>
            <pc:docMk/>
            <pc:sldMk cId="1948818331" sldId="590"/>
            <ac:spMk id="8" creationId="{100EDD19-6802-4EC3-95CE-CFFAB042CFD6}"/>
          </ac:spMkLst>
        </pc:spChg>
        <pc:spChg chg="del">
          <ac:chgData name="Del Olmo Mosteiro, Aixa" userId="53bcf9b9-77e8-4b0b-99b4-eb96a8a4ffd5" providerId="ADAL" clId="{3565D7DC-C2D0-4620-8043-4AC8C985AD7C}" dt="2022-11-21T17:30:08.708" v="4088"/>
          <ac:spMkLst>
            <pc:docMk/>
            <pc:sldMk cId="1948818331" sldId="590"/>
            <ac:spMk id="10" creationId="{DB17E863-922E-4C26-BD64-E8FD41D28661}"/>
          </ac:spMkLst>
        </pc:spChg>
      </pc:sldChg>
      <pc:sldChg chg="delSp add del setBg delDesignElem">
        <pc:chgData name="Del Olmo Mosteiro, Aixa" userId="53bcf9b9-77e8-4b0b-99b4-eb96a8a4ffd5" providerId="ADAL" clId="{3565D7DC-C2D0-4620-8043-4AC8C985AD7C}" dt="2022-11-21T17:45:11.471" v="5228" actId="47"/>
        <pc:sldMkLst>
          <pc:docMk/>
          <pc:sldMk cId="4009596019" sldId="591"/>
        </pc:sldMkLst>
        <pc:spChg chg="del">
          <ac:chgData name="Del Olmo Mosteiro, Aixa" userId="53bcf9b9-77e8-4b0b-99b4-eb96a8a4ffd5" providerId="ADAL" clId="{3565D7DC-C2D0-4620-8043-4AC8C985AD7C}" dt="2022-11-21T17:30:08.708" v="4088"/>
          <ac:spMkLst>
            <pc:docMk/>
            <pc:sldMk cId="4009596019" sldId="591"/>
            <ac:spMk id="8" creationId="{100EDD19-6802-4EC3-95CE-CFFAB042CFD6}"/>
          </ac:spMkLst>
        </pc:spChg>
        <pc:spChg chg="del">
          <ac:chgData name="Del Olmo Mosteiro, Aixa" userId="53bcf9b9-77e8-4b0b-99b4-eb96a8a4ffd5" providerId="ADAL" clId="{3565D7DC-C2D0-4620-8043-4AC8C985AD7C}" dt="2022-11-21T17:30:08.708" v="4088"/>
          <ac:spMkLst>
            <pc:docMk/>
            <pc:sldMk cId="4009596019" sldId="591"/>
            <ac:spMk id="10" creationId="{DB17E863-922E-4C26-BD64-E8FD41D28661}"/>
          </ac:spMkLst>
        </pc:spChg>
      </pc:sldChg>
      <pc:sldChg chg="modSp add mod">
        <pc:chgData name="Del Olmo Mosteiro, Aixa" userId="53bcf9b9-77e8-4b0b-99b4-eb96a8a4ffd5" providerId="ADAL" clId="{3565D7DC-C2D0-4620-8043-4AC8C985AD7C}" dt="2022-11-21T17:46:08.372" v="5240" actId="207"/>
        <pc:sldMkLst>
          <pc:docMk/>
          <pc:sldMk cId="2094921609" sldId="592"/>
        </pc:sldMkLst>
        <pc:spChg chg="mod">
          <ac:chgData name="Del Olmo Mosteiro, Aixa" userId="53bcf9b9-77e8-4b0b-99b4-eb96a8a4ffd5" providerId="ADAL" clId="{3565D7DC-C2D0-4620-8043-4AC8C985AD7C}" dt="2022-11-21T17:46:08.372" v="5240" actId="207"/>
          <ac:spMkLst>
            <pc:docMk/>
            <pc:sldMk cId="2094921609" sldId="592"/>
            <ac:spMk id="14" creationId="{5B69ED13-3A2C-4A5C-8E5E-17429C83EEC6}"/>
          </ac:spMkLst>
        </pc:spChg>
        <pc:grpChg chg="mod">
          <ac:chgData name="Del Olmo Mosteiro, Aixa" userId="53bcf9b9-77e8-4b0b-99b4-eb96a8a4ffd5" providerId="ADAL" clId="{3565D7DC-C2D0-4620-8043-4AC8C985AD7C}" dt="2022-11-21T17:45:42.936" v="5239" actId="207"/>
          <ac:grpSpMkLst>
            <pc:docMk/>
            <pc:sldMk cId="2094921609" sldId="592"/>
            <ac:grpSpMk id="15" creationId="{09219290-8678-425F-8F24-D0BBC0E7F4DE}"/>
          </ac:grpSpMkLst>
        </pc:grpChg>
      </pc:sldChg>
      <pc:sldChg chg="addSp delSp modSp add mod ord">
        <pc:chgData name="Del Olmo Mosteiro, Aixa" userId="53bcf9b9-77e8-4b0b-99b4-eb96a8a4ffd5" providerId="ADAL" clId="{3565D7DC-C2D0-4620-8043-4AC8C985AD7C}" dt="2022-11-21T17:34:56.313" v="4445"/>
        <pc:sldMkLst>
          <pc:docMk/>
          <pc:sldMk cId="656078820" sldId="593"/>
        </pc:sldMkLst>
        <pc:spChg chg="del">
          <ac:chgData name="Del Olmo Mosteiro, Aixa" userId="53bcf9b9-77e8-4b0b-99b4-eb96a8a4ffd5" providerId="ADAL" clId="{3565D7DC-C2D0-4620-8043-4AC8C985AD7C}" dt="2022-11-21T17:34:48.365" v="4441" actId="478"/>
          <ac:spMkLst>
            <pc:docMk/>
            <pc:sldMk cId="656078820" sldId="593"/>
            <ac:spMk id="3" creationId="{0D4255F1-2953-4143-9C73-C29D2BF9B7B1}"/>
          </ac:spMkLst>
        </pc:spChg>
        <pc:spChg chg="add del mod">
          <ac:chgData name="Del Olmo Mosteiro, Aixa" userId="53bcf9b9-77e8-4b0b-99b4-eb96a8a4ffd5" providerId="ADAL" clId="{3565D7DC-C2D0-4620-8043-4AC8C985AD7C}" dt="2022-11-21T17:34:50.185" v="4442" actId="478"/>
          <ac:spMkLst>
            <pc:docMk/>
            <pc:sldMk cId="656078820" sldId="593"/>
            <ac:spMk id="5" creationId="{BA0E51B1-5510-49B3-8896-ADBB3D016016}"/>
          </ac:spMkLst>
        </pc:spChg>
        <pc:spChg chg="add mod">
          <ac:chgData name="Del Olmo Mosteiro, Aixa" userId="53bcf9b9-77e8-4b0b-99b4-eb96a8a4ffd5" providerId="ADAL" clId="{3565D7DC-C2D0-4620-8043-4AC8C985AD7C}" dt="2022-11-21T17:34:56.313" v="4445"/>
          <ac:spMkLst>
            <pc:docMk/>
            <pc:sldMk cId="656078820" sldId="593"/>
            <ac:spMk id="12" creationId="{A852E57C-53BD-45D1-AE38-463BD328DE39}"/>
          </ac:spMkLst>
        </pc:spChg>
      </pc:sldChg>
      <pc:sldChg chg="modSp add mod ord">
        <pc:chgData name="Del Olmo Mosteiro, Aixa" userId="53bcf9b9-77e8-4b0b-99b4-eb96a8a4ffd5" providerId="ADAL" clId="{3565D7DC-C2D0-4620-8043-4AC8C985AD7C}" dt="2022-11-21T17:35:21.318" v="4453" actId="207"/>
        <pc:sldMkLst>
          <pc:docMk/>
          <pc:sldMk cId="27340017" sldId="594"/>
        </pc:sldMkLst>
        <pc:spChg chg="mod">
          <ac:chgData name="Del Olmo Mosteiro, Aixa" userId="53bcf9b9-77e8-4b0b-99b4-eb96a8a4ffd5" providerId="ADAL" clId="{3565D7DC-C2D0-4620-8043-4AC8C985AD7C}" dt="2022-11-21T17:35:21.318" v="4453" actId="207"/>
          <ac:spMkLst>
            <pc:docMk/>
            <pc:sldMk cId="27340017" sldId="594"/>
            <ac:spMk id="12" creationId="{C05C9E4F-C2D4-468B-AD5E-298979F69790}"/>
          </ac:spMkLst>
        </pc:spChg>
      </pc:sldChg>
      <pc:sldChg chg="addSp delSp add del setBg delDesignElem">
        <pc:chgData name="Del Olmo Mosteiro, Aixa" userId="53bcf9b9-77e8-4b0b-99b4-eb96a8a4ffd5" providerId="ADAL" clId="{3565D7DC-C2D0-4620-8043-4AC8C985AD7C}" dt="2022-11-21T17:35:08.216" v="4449"/>
        <pc:sldMkLst>
          <pc:docMk/>
          <pc:sldMk cId="650054005" sldId="594"/>
        </pc:sldMkLst>
        <pc:spChg chg="add del">
          <ac:chgData name="Del Olmo Mosteiro, Aixa" userId="53bcf9b9-77e8-4b0b-99b4-eb96a8a4ffd5" providerId="ADAL" clId="{3565D7DC-C2D0-4620-8043-4AC8C985AD7C}" dt="2022-11-21T17:35:08.216" v="4449"/>
          <ac:spMkLst>
            <pc:docMk/>
            <pc:sldMk cId="650054005" sldId="594"/>
            <ac:spMk id="8" creationId="{100EDD19-6802-4EC3-95CE-CFFAB042CFD6}"/>
          </ac:spMkLst>
        </pc:spChg>
        <pc:spChg chg="add del">
          <ac:chgData name="Del Olmo Mosteiro, Aixa" userId="53bcf9b9-77e8-4b0b-99b4-eb96a8a4ffd5" providerId="ADAL" clId="{3565D7DC-C2D0-4620-8043-4AC8C985AD7C}" dt="2022-11-21T17:35:08.216" v="4449"/>
          <ac:spMkLst>
            <pc:docMk/>
            <pc:sldMk cId="650054005" sldId="594"/>
            <ac:spMk id="10" creationId="{DB17E863-922E-4C26-BD64-E8FD41D28661}"/>
          </ac:spMkLst>
        </pc:spChg>
      </pc:sldChg>
      <pc:sldChg chg="add ord">
        <pc:chgData name="Del Olmo Mosteiro, Aixa" userId="53bcf9b9-77e8-4b0b-99b4-eb96a8a4ffd5" providerId="ADAL" clId="{3565D7DC-C2D0-4620-8043-4AC8C985AD7C}" dt="2022-11-21T17:36:46.866" v="4457"/>
        <pc:sldMkLst>
          <pc:docMk/>
          <pc:sldMk cId="3406825339" sldId="595"/>
        </pc:sldMkLst>
      </pc:sldChg>
      <pc:sldChg chg="modSp add mod ord">
        <pc:chgData name="Del Olmo Mosteiro, Aixa" userId="53bcf9b9-77e8-4b0b-99b4-eb96a8a4ffd5" providerId="ADAL" clId="{3565D7DC-C2D0-4620-8043-4AC8C985AD7C}" dt="2022-11-21T17:38:24.921" v="4574" actId="207"/>
        <pc:sldMkLst>
          <pc:docMk/>
          <pc:sldMk cId="3425555982" sldId="596"/>
        </pc:sldMkLst>
        <pc:spChg chg="mod">
          <ac:chgData name="Del Olmo Mosteiro, Aixa" userId="53bcf9b9-77e8-4b0b-99b4-eb96a8a4ffd5" providerId="ADAL" clId="{3565D7DC-C2D0-4620-8043-4AC8C985AD7C}" dt="2022-11-21T17:38:24.921" v="4574" actId="207"/>
          <ac:spMkLst>
            <pc:docMk/>
            <pc:sldMk cId="3425555982" sldId="596"/>
            <ac:spMk id="12" creationId="{1A96055C-35AC-473F-829A-811A4CADFE7D}"/>
          </ac:spMkLst>
        </pc:spChg>
      </pc:sldChg>
      <pc:sldChg chg="addSp delSp modSp add mod ord">
        <pc:chgData name="Del Olmo Mosteiro, Aixa" userId="53bcf9b9-77e8-4b0b-99b4-eb96a8a4ffd5" providerId="ADAL" clId="{3565D7DC-C2D0-4620-8043-4AC8C985AD7C}" dt="2022-11-21T17:45:33.862" v="5236"/>
        <pc:sldMkLst>
          <pc:docMk/>
          <pc:sldMk cId="3623230279" sldId="597"/>
        </pc:sldMkLst>
        <pc:spChg chg="mod">
          <ac:chgData name="Del Olmo Mosteiro, Aixa" userId="53bcf9b9-77e8-4b0b-99b4-eb96a8a4ffd5" providerId="ADAL" clId="{3565D7DC-C2D0-4620-8043-4AC8C985AD7C}" dt="2022-11-21T17:45:28.946" v="5234" actId="20577"/>
          <ac:spMkLst>
            <pc:docMk/>
            <pc:sldMk cId="3623230279" sldId="597"/>
            <ac:spMk id="2" creationId="{B9806C6F-4189-4D30-92F8-74DA904402FF}"/>
          </ac:spMkLst>
        </pc:spChg>
        <pc:spChg chg="add del mod">
          <ac:chgData name="Del Olmo Mosteiro, Aixa" userId="53bcf9b9-77e8-4b0b-99b4-eb96a8a4ffd5" providerId="ADAL" clId="{3565D7DC-C2D0-4620-8043-4AC8C985AD7C}" dt="2022-11-21T17:45:30.125" v="5235" actId="478"/>
          <ac:spMkLst>
            <pc:docMk/>
            <pc:sldMk cId="3623230279" sldId="597"/>
            <ac:spMk id="5" creationId="{3B9C59F6-BA92-4AB3-9A87-FF33D62A47EC}"/>
          </ac:spMkLst>
        </pc:spChg>
        <pc:spChg chg="add mod">
          <ac:chgData name="Del Olmo Mosteiro, Aixa" userId="53bcf9b9-77e8-4b0b-99b4-eb96a8a4ffd5" providerId="ADAL" clId="{3565D7DC-C2D0-4620-8043-4AC8C985AD7C}" dt="2022-11-21T17:45:33.862" v="5236"/>
          <ac:spMkLst>
            <pc:docMk/>
            <pc:sldMk cId="3623230279" sldId="597"/>
            <ac:spMk id="12" creationId="{B10254E5-A81A-4809-8B40-947FCFA74BC9}"/>
          </ac:spMkLst>
        </pc:spChg>
        <pc:spChg chg="del">
          <ac:chgData name="Del Olmo Mosteiro, Aixa" userId="53bcf9b9-77e8-4b0b-99b4-eb96a8a4ffd5" providerId="ADAL" clId="{3565D7DC-C2D0-4620-8043-4AC8C985AD7C}" dt="2022-11-21T17:45:27.704" v="5233" actId="478"/>
          <ac:spMkLst>
            <pc:docMk/>
            <pc:sldMk cId="3623230279" sldId="597"/>
            <ac:spMk id="13" creationId="{5D55A84F-9D22-43F2-95D3-4C1EB909A86E}"/>
          </ac:spMkLst>
        </pc:spChg>
        <pc:graphicFrameChg chg="del">
          <ac:chgData name="Del Olmo Mosteiro, Aixa" userId="53bcf9b9-77e8-4b0b-99b4-eb96a8a4ffd5" providerId="ADAL" clId="{3565D7DC-C2D0-4620-8043-4AC8C985AD7C}" dt="2022-11-21T17:45:25.738" v="5232" actId="478"/>
          <ac:graphicFrameMkLst>
            <pc:docMk/>
            <pc:sldMk cId="3623230279" sldId="597"/>
            <ac:graphicFrameMk id="3" creationId="{164A42A2-09F9-4AF3-959B-A034FAE927AD}"/>
          </ac:graphicFrameMkLst>
        </pc:graphicFrameChg>
      </pc:sldChg>
      <pc:sldChg chg="addSp delSp modSp add del mod modNotes">
        <pc:chgData name="Del Olmo Mosteiro, Aixa" userId="53bcf9b9-77e8-4b0b-99b4-eb96a8a4ffd5" providerId="ADAL" clId="{3565D7DC-C2D0-4620-8043-4AC8C985AD7C}" dt="2022-11-21T15:34:27.437" v="514" actId="47"/>
        <pc:sldMkLst>
          <pc:docMk/>
          <pc:sldMk cId="3753173095" sldId="687"/>
        </pc:sldMkLst>
        <pc:spChg chg="mod">
          <ac:chgData name="Del Olmo Mosteiro, Aixa" userId="53bcf9b9-77e8-4b0b-99b4-eb96a8a4ffd5" providerId="ADAL" clId="{3565D7DC-C2D0-4620-8043-4AC8C985AD7C}" dt="2022-11-21T15:34:00.798" v="489"/>
          <ac:spMkLst>
            <pc:docMk/>
            <pc:sldMk cId="3753173095" sldId="687"/>
            <ac:spMk id="2" creationId="{00000000-0000-0000-0000-000000000000}"/>
          </ac:spMkLst>
        </pc:spChg>
        <pc:spChg chg="add del mod">
          <ac:chgData name="Del Olmo Mosteiro, Aixa" userId="53bcf9b9-77e8-4b0b-99b4-eb96a8a4ffd5" providerId="ADAL" clId="{3565D7DC-C2D0-4620-8043-4AC8C985AD7C}" dt="2022-11-21T15:34:10.305" v="492" actId="478"/>
          <ac:spMkLst>
            <pc:docMk/>
            <pc:sldMk cId="3753173095" sldId="687"/>
            <ac:spMk id="6" creationId="{5E9D0F97-9825-49DA-85D5-B2A96C3839E2}"/>
          </ac:spMkLst>
        </pc:spChg>
      </pc:sldChg>
      <pc:sldMasterChg chg="addSldLayout delSldLayout modSldLayout">
        <pc:chgData name="Del Olmo Mosteiro, Aixa" userId="53bcf9b9-77e8-4b0b-99b4-eb96a8a4ffd5" providerId="ADAL" clId="{3565D7DC-C2D0-4620-8043-4AC8C985AD7C}" dt="2022-11-21T15:34:00.801" v="490" actId="2696"/>
        <pc:sldMasterMkLst>
          <pc:docMk/>
          <pc:sldMasterMk cId="2120458077" sldId="2147483648"/>
        </pc:sldMasterMkLst>
        <pc:sldLayoutChg chg="addSp delSp modSp add mod modTransition">
          <pc:chgData name="Del Olmo Mosteiro, Aixa" userId="53bcf9b9-77e8-4b0b-99b4-eb96a8a4ffd5" providerId="ADAL" clId="{3565D7DC-C2D0-4620-8043-4AC8C985AD7C}" dt="2022-11-21T15:26:36.075" v="333" actId="732"/>
          <pc:sldLayoutMkLst>
            <pc:docMk/>
            <pc:sldMasterMk cId="2120458077" sldId="2147483648"/>
            <pc:sldLayoutMk cId="3375430198" sldId="2147483660"/>
          </pc:sldLayoutMkLst>
          <pc:spChg chg="add del mod">
            <ac:chgData name="Del Olmo Mosteiro, Aixa" userId="53bcf9b9-77e8-4b0b-99b4-eb96a8a4ffd5" providerId="ADAL" clId="{3565D7DC-C2D0-4620-8043-4AC8C985AD7C}" dt="2022-11-21T15:26:27.253" v="332" actId="478"/>
            <ac:spMkLst>
              <pc:docMk/>
              <pc:sldMasterMk cId="2120458077" sldId="2147483648"/>
              <pc:sldLayoutMk cId="3375430198" sldId="2147483660"/>
              <ac:spMk id="5" creationId="{7E3320EB-CF4C-4B88-B3C8-93923A7CDB8B}"/>
            </ac:spMkLst>
          </pc:spChg>
          <pc:spChg chg="add del mod">
            <ac:chgData name="Del Olmo Mosteiro, Aixa" userId="53bcf9b9-77e8-4b0b-99b4-eb96a8a4ffd5" providerId="ADAL" clId="{3565D7DC-C2D0-4620-8043-4AC8C985AD7C}" dt="2022-11-21T15:26:26.491" v="331" actId="478"/>
            <ac:spMkLst>
              <pc:docMk/>
              <pc:sldMasterMk cId="2120458077" sldId="2147483648"/>
              <pc:sldLayoutMk cId="3375430198" sldId="2147483660"/>
              <ac:spMk id="6" creationId="{4B6DED1D-E3D8-4F54-BCAA-72FD61868483}"/>
            </ac:spMkLst>
          </pc:spChg>
          <pc:picChg chg="add del mod">
            <ac:chgData name="Del Olmo Mosteiro, Aixa" userId="53bcf9b9-77e8-4b0b-99b4-eb96a8a4ffd5" providerId="ADAL" clId="{3565D7DC-C2D0-4620-8043-4AC8C985AD7C}" dt="2022-11-21T15:26:06.006" v="322" actId="478"/>
            <ac:picMkLst>
              <pc:docMk/>
              <pc:sldMasterMk cId="2120458077" sldId="2147483648"/>
              <pc:sldLayoutMk cId="3375430198" sldId="2147483660"/>
              <ac:picMk id="7" creationId="{6E5C5675-5F60-42ED-88B3-E8B87639BE44}"/>
            </ac:picMkLst>
          </pc:picChg>
          <pc:picChg chg="add mod ord modCrop">
            <ac:chgData name="Del Olmo Mosteiro, Aixa" userId="53bcf9b9-77e8-4b0b-99b4-eb96a8a4ffd5" providerId="ADAL" clId="{3565D7DC-C2D0-4620-8043-4AC8C985AD7C}" dt="2022-11-21T15:26:36.075" v="333" actId="732"/>
            <ac:picMkLst>
              <pc:docMk/>
              <pc:sldMasterMk cId="2120458077" sldId="2147483648"/>
              <pc:sldLayoutMk cId="3375430198" sldId="2147483660"/>
              <ac:picMk id="8" creationId="{73BF5A1D-5414-42F7-A686-00D27136893D}"/>
            </ac:picMkLst>
          </pc:picChg>
        </pc:sldLayoutChg>
        <pc:sldLayoutChg chg="addSp delSp modSp add mod modTransition">
          <pc:chgData name="Del Olmo Mosteiro, Aixa" userId="53bcf9b9-77e8-4b0b-99b4-eb96a8a4ffd5" providerId="ADAL" clId="{3565D7DC-C2D0-4620-8043-4AC8C985AD7C}" dt="2022-11-21T15:30:23.011" v="358" actId="732"/>
          <pc:sldLayoutMkLst>
            <pc:docMk/>
            <pc:sldMasterMk cId="2120458077" sldId="2147483648"/>
            <pc:sldLayoutMk cId="2446960705" sldId="2147483661"/>
          </pc:sldLayoutMkLst>
          <pc:spChg chg="del mod ord">
            <ac:chgData name="Del Olmo Mosteiro, Aixa" userId="53bcf9b9-77e8-4b0b-99b4-eb96a8a4ffd5" providerId="ADAL" clId="{3565D7DC-C2D0-4620-8043-4AC8C985AD7C}" dt="2022-11-21T15:30:12.769" v="357" actId="478"/>
            <ac:spMkLst>
              <pc:docMk/>
              <pc:sldMasterMk cId="2120458077" sldId="2147483648"/>
              <pc:sldLayoutMk cId="2446960705" sldId="2147483661"/>
              <ac:spMk id="5" creationId="{7E3320EB-CF4C-4B88-B3C8-93923A7CDB8B}"/>
            </ac:spMkLst>
          </pc:spChg>
          <pc:spChg chg="del mod ord">
            <ac:chgData name="Del Olmo Mosteiro, Aixa" userId="53bcf9b9-77e8-4b0b-99b4-eb96a8a4ffd5" providerId="ADAL" clId="{3565D7DC-C2D0-4620-8043-4AC8C985AD7C}" dt="2022-11-21T15:30:11.951" v="356" actId="478"/>
            <ac:spMkLst>
              <pc:docMk/>
              <pc:sldMasterMk cId="2120458077" sldId="2147483648"/>
              <pc:sldLayoutMk cId="2446960705" sldId="2147483661"/>
              <ac:spMk id="6" creationId="{4B6DED1D-E3D8-4F54-BCAA-72FD61868483}"/>
            </ac:spMkLst>
          </pc:spChg>
          <pc:picChg chg="add mod ord modCrop">
            <ac:chgData name="Del Olmo Mosteiro, Aixa" userId="53bcf9b9-77e8-4b0b-99b4-eb96a8a4ffd5" providerId="ADAL" clId="{3565D7DC-C2D0-4620-8043-4AC8C985AD7C}" dt="2022-11-21T15:30:23.011" v="358" actId="732"/>
            <ac:picMkLst>
              <pc:docMk/>
              <pc:sldMasterMk cId="2120458077" sldId="2147483648"/>
              <pc:sldLayoutMk cId="2446960705" sldId="2147483661"/>
              <ac:picMk id="7" creationId="{1F598D26-9D8D-4ED9-9037-4FA7ED4FC302}"/>
            </ac:picMkLst>
          </pc:picChg>
          <pc:picChg chg="del">
            <ac:chgData name="Del Olmo Mosteiro, Aixa" userId="53bcf9b9-77e8-4b0b-99b4-eb96a8a4ffd5" providerId="ADAL" clId="{3565D7DC-C2D0-4620-8043-4AC8C985AD7C}" dt="2022-11-21T15:29:59.533" v="352" actId="478"/>
            <ac:picMkLst>
              <pc:docMk/>
              <pc:sldMasterMk cId="2120458077" sldId="2147483648"/>
              <pc:sldLayoutMk cId="2446960705" sldId="2147483661"/>
              <ac:picMk id="8" creationId="{73BF5A1D-5414-42F7-A686-00D27136893D}"/>
            </ac:picMkLst>
          </pc:picChg>
        </pc:sldLayoutChg>
        <pc:sldLayoutChg chg="del">
          <pc:chgData name="Del Olmo Mosteiro, Aixa" userId="53bcf9b9-77e8-4b0b-99b4-eb96a8a4ffd5" providerId="ADAL" clId="{3565D7DC-C2D0-4620-8043-4AC8C985AD7C}" dt="2022-11-21T15:34:00.801" v="490" actId="2696"/>
          <pc:sldLayoutMkLst>
            <pc:docMk/>
            <pc:sldMasterMk cId="2120458077" sldId="2147483648"/>
            <pc:sldLayoutMk cId="1250343305" sldId="2147483662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26EF80-E832-4BAF-BB96-08542E9BE1A8}" type="datetimeFigureOut">
              <a:rPr lang="es-ES" smtClean="0"/>
              <a:t>21/11/2022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7B549A-19E4-4AE3-9210-33EA78D6B60B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445866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Install Power-user to access thousands of templates, icons, maps, diagrams and charts with Power-user.</a:t>
            </a:r>
          </a:p>
          <a:p>
            <a:r>
              <a:rPr lang="en-US"/>
              <a:t>Visit </a:t>
            </a:r>
            <a:r>
              <a:rPr lang="en-US">
                <a:hlinkClick r:id="rId3"/>
              </a:rPr>
              <a:t>https://www.powerusersoftwares.com/</a:t>
            </a:r>
            <a:endParaRPr lang="en-US"/>
          </a:p>
          <a:p>
            <a:r>
              <a:rPr lang="en-US"/>
              <a:t>©Power-user SAS, terms of license: </a:t>
            </a:r>
            <a:r>
              <a:rPr lang="en-US">
                <a:hlinkClick r:id="rId4"/>
              </a:rPr>
              <a:t>https://www.powerusersoftwares.com/terms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s-ES" smtClean="0"/>
              <a:t>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451045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Install Power-user to access thousands of templates, icons, maps, diagrams and charts with Power-user.</a:t>
            </a:r>
          </a:p>
          <a:p>
            <a:r>
              <a:rPr lang="en-US"/>
              <a:t>Visit </a:t>
            </a:r>
            <a:r>
              <a:rPr lang="en-US">
                <a:hlinkClick r:id="rId3"/>
              </a:rPr>
              <a:t>https://www.powerusersoftwares.com/</a:t>
            </a:r>
            <a:endParaRPr lang="en-US"/>
          </a:p>
          <a:p>
            <a:r>
              <a:rPr lang="en-US"/>
              <a:t>©Power-user SAS, terms of license: </a:t>
            </a:r>
            <a:r>
              <a:rPr lang="en-US">
                <a:hlinkClick r:id="rId4"/>
              </a:rPr>
              <a:t>https://www.powerusersoftwares.com/terms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s-ES" smtClean="0"/>
              <a:t>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559005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Install Power-user to access thousands of templates, icons, maps, diagrams and charts with Power-user.</a:t>
            </a:r>
          </a:p>
          <a:p>
            <a:r>
              <a:rPr lang="en-US"/>
              <a:t>Visit </a:t>
            </a:r>
            <a:r>
              <a:rPr lang="en-US">
                <a:hlinkClick r:id="rId3"/>
              </a:rPr>
              <a:t>https://www.powerusersoftwares.com/</a:t>
            </a:r>
            <a:endParaRPr lang="en-US"/>
          </a:p>
          <a:p>
            <a:r>
              <a:rPr lang="en-US"/>
              <a:t>©Power-user SAS, terms of license: </a:t>
            </a:r>
            <a:r>
              <a:rPr lang="en-US">
                <a:hlinkClick r:id="rId4"/>
              </a:rPr>
              <a:t>https://www.powerusersoftwares.com/terms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s-ES" smtClean="0"/>
              <a:t>1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693423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Install Power-user to access thousands of templates, icons, maps, diagrams and charts with Power-user.</a:t>
            </a:r>
          </a:p>
          <a:p>
            <a:r>
              <a:rPr lang="en-US"/>
              <a:t>Visit </a:t>
            </a:r>
            <a:r>
              <a:rPr lang="en-US">
                <a:hlinkClick r:id="rId3"/>
              </a:rPr>
              <a:t>https://www.powerusersoftwares.com/</a:t>
            </a:r>
            <a:endParaRPr lang="en-US"/>
          </a:p>
          <a:p>
            <a:r>
              <a:rPr lang="en-US"/>
              <a:t>©Power-user SAS, terms of license: </a:t>
            </a:r>
            <a:r>
              <a:rPr lang="en-US">
                <a:hlinkClick r:id="rId4"/>
              </a:rPr>
              <a:t>https://www.powerusersoftwares.com/terms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s-ES" smtClean="0"/>
              <a:t>1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237163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Install Power-user to access thousands of templates, icons, maps, diagrams and charts with Power-user.</a:t>
            </a:r>
          </a:p>
          <a:p>
            <a:r>
              <a:rPr lang="en-US"/>
              <a:t>Visit </a:t>
            </a:r>
            <a:r>
              <a:rPr lang="en-US">
                <a:hlinkClick r:id="rId3"/>
              </a:rPr>
              <a:t>https://www.powerusersoftwares.com/</a:t>
            </a:r>
            <a:endParaRPr lang="en-US"/>
          </a:p>
          <a:p>
            <a:r>
              <a:rPr lang="en-US"/>
              <a:t>©Power-user SAS, terms of license: </a:t>
            </a:r>
            <a:r>
              <a:rPr lang="en-US">
                <a:hlinkClick r:id="rId4"/>
              </a:rPr>
              <a:t>https://www.powerusersoftwares.com/terms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s-ES" smtClean="0"/>
              <a:t>2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59129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8346545-2D4C-45E0-858F-E8FD53F6E2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B8750EF-3A62-43A4-AE16-BC226833FF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BB51403-7468-490A-87BC-F74113A5E8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BCF4D-27F7-45F0-A455-84661875EFF2}" type="datetimeFigureOut">
              <a:rPr lang="es-ES" smtClean="0"/>
              <a:t>21/11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EEC790B-AA38-4EB9-8B5D-8D08B3D859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A494998-9F7F-4EA8-BD03-AA7BEE9CD7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E38AFF-56A0-40EF-A206-65CD0829E42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056271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86A841-3F47-4B70-A20F-91DEDA549A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F030524-CD92-499B-B048-20132CD4A4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93751A-433B-43E1-BE79-8FCDA4DC49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840AD15-4462-4EA1-9340-136F18F76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BCF4D-27F7-45F0-A455-84661875EFF2}" type="datetimeFigureOut">
              <a:rPr lang="es-ES" smtClean="0"/>
              <a:t>21/11/2022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182E7B7-BF0D-4005-8B4F-453EEEA94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F54FD49-8FCF-4DE0-A421-892D9C5C7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E38AFF-56A0-40EF-A206-65CD0829E42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484426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8ADC661-A367-4E05-8A37-8CC4D24B9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29C34AA3-56A6-4C70-88C1-3CFBCBA151F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F089499-D5FF-44E7-A825-321B5B9598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2EBA090-B233-4C96-AF50-765AE0416B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BCF4D-27F7-45F0-A455-84661875EFF2}" type="datetimeFigureOut">
              <a:rPr lang="es-ES" smtClean="0"/>
              <a:t>21/11/2022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9BB798F-85B9-4142-9CB7-ADA4598B29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CC56159-5594-494F-870D-00F9197002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E38AFF-56A0-40EF-A206-65CD0829E42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39847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DC2BC69-D805-467D-91AE-07B21C38C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FAE3A5F-643B-459C-A3C2-4EFC1758C0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151A6C6-1DF7-4E4C-9DCA-7CA883A772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BCF4D-27F7-45F0-A455-84661875EFF2}" type="datetimeFigureOut">
              <a:rPr lang="es-ES" smtClean="0"/>
              <a:t>21/11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230F903-7B4C-4098-B906-9813FAA0A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10C5801-021B-4F55-9147-15F7AB5A0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E38AFF-56A0-40EF-A206-65CD0829E42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556607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8091DBF8-34B2-413B-AC59-3AFA6F7011F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96A29773-1D30-4572-AEA6-29B7DB0AA0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A6F775D-5D04-47F9-B0EA-8E48E77CFF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BCF4D-27F7-45F0-A455-84661875EFF2}" type="datetimeFigureOut">
              <a:rPr lang="es-ES" smtClean="0"/>
              <a:t>21/11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A4A9EE8-AE7E-4428-B17B-4EA277D2C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ED19EAF-C693-4B78-BDF3-CDD97AC6E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E38AFF-56A0-40EF-A206-65CD0829E42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385246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18193F-4E9C-4377-8B8B-09AD2DCC1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251BC4C-831D-452A-8A80-7C2B33A657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80666B1-AF70-4A44-924C-3BE83AA8D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BCF4D-27F7-45F0-A455-84661875EFF2}" type="datetimeFigureOut">
              <a:rPr lang="es-ES" smtClean="0"/>
              <a:t>21/11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6852954-9999-46BC-86D8-C068BE97DD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6515441-D2A7-45DC-874F-ACEED44E30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E38AFF-56A0-40EF-A206-65CD0829E42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272201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AE29927-9F82-4994-82CD-B90669BB2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A954F8E-FD51-4EE2-9D1B-5C928CFEF5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FE50518-098F-4081-9FBD-8B4921157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BCF4D-27F7-45F0-A455-84661875EFF2}" type="datetimeFigureOut">
              <a:rPr lang="es-ES" smtClean="0"/>
              <a:t>21/11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F901C26-3375-4A6A-91A6-1F508C0EA8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D96E083-0BDB-423C-9074-E04AFC397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E38AFF-56A0-40EF-A206-65CD0829E42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399689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13AB8E7-F516-46B9-9B5F-D32341ABC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F01EFFC-D213-4F06-9E71-80303FF655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E796B89A-D2F3-4041-9FCD-DBAFBE16FB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662317D-92DC-4B53-A165-DE20617093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BCF4D-27F7-45F0-A455-84661875EFF2}" type="datetimeFigureOut">
              <a:rPr lang="es-ES" smtClean="0"/>
              <a:t>21/11/2022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7A385E0-F6FB-4DD7-B3A6-12A03A0FE0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D68A625-1728-4700-BC62-6D0A50C52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E38AFF-56A0-40EF-A206-65CD0829E42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066289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AAC2383-89C4-4D53-B97F-92E5337956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AB3A16DA-C1F3-4891-8864-F5AA9F6D59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5E31FC9-6F40-4310-B19B-5F0B8E34CF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3AFCB19A-7553-4996-A7E0-6D1FB82E4C1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E6E9A14C-818B-4D51-AC93-4C603F8CB7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16A53F94-9333-493B-9014-D8A042AA34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BCF4D-27F7-45F0-A455-84661875EFF2}" type="datetimeFigureOut">
              <a:rPr lang="es-ES" smtClean="0"/>
              <a:t>21/11/2022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DBAC4250-D904-43CF-B92F-0BE27F1E17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CD1551D9-48A7-43D6-9634-DFB49450F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E38AFF-56A0-40EF-A206-65CD0829E42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446620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BD03458-9306-4472-8389-746D64028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5FF88E9F-2882-4EED-BA57-8179DB63C3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BCF4D-27F7-45F0-A455-84661875EFF2}" type="datetimeFigureOut">
              <a:rPr lang="es-ES" smtClean="0"/>
              <a:t>21/11/2022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DD02CD-3261-4C08-A6E7-F1970936A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B7A18DCA-826E-4C50-940F-17C015782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E38AFF-56A0-40EF-A206-65CD0829E42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128998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E9F756E-16AE-4D09-A7C9-8A15E472E6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BCF4D-27F7-45F0-A455-84661875EFF2}" type="datetimeFigureOut">
              <a:rPr lang="es-ES" smtClean="0"/>
              <a:t>21/11/2022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F8618CFF-92B8-4859-8DA3-15EC9A763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91BC6C7-015E-419C-A4E6-1F806A7EF6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E38AFF-56A0-40EF-A206-65CD0829E42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437088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3BF5A1D-5414-42F7-A686-00D2713689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4490"/>
          <a:stretch/>
        </p:blipFill>
        <p:spPr>
          <a:xfrm>
            <a:off x="0" y="-956"/>
            <a:ext cx="6760980" cy="6858000"/>
          </a:xfrm>
          <a:prstGeom prst="rect">
            <a:avLst/>
          </a:prstGeom>
        </p:spPr>
      </p:pic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E9F756E-16AE-4D09-A7C9-8A15E472E6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BCF4D-27F7-45F0-A455-84661875EFF2}" type="datetimeFigureOut">
              <a:rPr lang="es-ES" smtClean="0"/>
              <a:t>21/11/2022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F8618CFF-92B8-4859-8DA3-15EC9A763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91BC6C7-015E-419C-A4E6-1F806A7EF6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E38AFF-56A0-40EF-A206-65CD0829E42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75430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F598D26-9D8D-4ED9-9037-4FA7ED4FC3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4517"/>
          <a:stretch/>
        </p:blipFill>
        <p:spPr>
          <a:xfrm>
            <a:off x="0" y="0"/>
            <a:ext cx="6754318" cy="6858000"/>
          </a:xfrm>
          <a:prstGeom prst="rect">
            <a:avLst/>
          </a:prstGeom>
        </p:spPr>
      </p:pic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E9F756E-16AE-4D09-A7C9-8A15E472E6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BCF4D-27F7-45F0-A455-84661875EFF2}" type="datetimeFigureOut">
              <a:rPr lang="es-ES" smtClean="0"/>
              <a:t>21/11/2022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F8618CFF-92B8-4859-8DA3-15EC9A763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91BC6C7-015E-419C-A4E6-1F806A7EF6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E38AFF-56A0-40EF-A206-65CD0829E42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469607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91600D2D-E7EE-42D8-950D-F98AB6D70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E82D31B-E216-451F-96EB-6F7CD4436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E5DFE77-F755-4033-BF09-41F6524338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1BCF4D-27F7-45F0-A455-84661875EFF2}" type="datetimeFigureOut">
              <a:rPr lang="es-ES" smtClean="0"/>
              <a:t>21/11/2022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BC194E-CFD2-4F84-9B3B-75EDD9124D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7B0857D-B93E-4776-B558-947D0D6FC8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E38AFF-56A0-40EF-A206-65CD0829E424}" type="slidenum">
              <a:rPr lang="es-ES" smtClean="0"/>
              <a:t>‹#›</a:t>
            </a:fld>
            <a:endParaRPr lang="es-ES"/>
          </a:p>
        </p:txBody>
      </p:sp>
      <p:sp>
        <p:nvSpPr>
          <p:cNvPr id="7" name="MSIPCMContentMarking" descr="{&quot;HashCode&quot;:1796900873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4A01B090-7722-4655-89AB-6944B9F785C1}"/>
              </a:ext>
            </a:extLst>
          </p:cNvPr>
          <p:cNvSpPr txBox="1"/>
          <p:nvPr userDrawn="1"/>
        </p:nvSpPr>
        <p:spPr>
          <a:xfrm>
            <a:off x="0" y="6595656"/>
            <a:ext cx="13673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s-ES" sz="1000">
                <a:solidFill>
                  <a:srgbClr val="000000"/>
                </a:solidFill>
                <a:latin typeface="Calibri" panose="020F0502020204030204" pitchFamily="34" charset="0"/>
              </a:rPr>
              <a:t>Clasificación: Interna</a:t>
            </a:r>
          </a:p>
        </p:txBody>
      </p:sp>
    </p:spTree>
    <p:extLst>
      <p:ext uri="{BB962C8B-B14F-4D97-AF65-F5344CB8AC3E}">
        <p14:creationId xmlns:p14="http://schemas.microsoft.com/office/powerpoint/2010/main" val="2120458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61" r:id="rId9"/>
    <p:sldLayoutId id="2147483656" r:id="rId10"/>
    <p:sldLayoutId id="2147483657" r:id="rId11"/>
    <p:sldLayoutId id="2147483658" r:id="rId12"/>
    <p:sldLayoutId id="214748365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0DE6A193-4755-479A-BC6F-A7EBCA73BE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5A55B759-31A7-423C-9BC2-A8BC09FE98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-478"/>
            <a:ext cx="6754318" cy="6858478"/>
          </a:xfrm>
          <a:custGeom>
            <a:avLst/>
            <a:gdLst>
              <a:gd name="connsiteX0" fmla="*/ 0 w 6754318"/>
              <a:gd name="connsiteY0" fmla="*/ 6858478 h 6858478"/>
              <a:gd name="connsiteX1" fmla="*/ 6754318 w 6754318"/>
              <a:gd name="connsiteY1" fmla="*/ 6858478 h 6858478"/>
              <a:gd name="connsiteX2" fmla="*/ 3577943 w 6754318"/>
              <a:gd name="connsiteY2" fmla="*/ 0 h 6858478"/>
              <a:gd name="connsiteX3" fmla="*/ 3572366 w 6754318"/>
              <a:gd name="connsiteY3" fmla="*/ 0 h 6858478"/>
              <a:gd name="connsiteX4" fmla="*/ 2506138 w 6754318"/>
              <a:gd name="connsiteY4" fmla="*/ 0 h 6858478"/>
              <a:gd name="connsiteX5" fmla="*/ 0 w 6754318"/>
              <a:gd name="connsiteY5" fmla="*/ 0 h 685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54318" h="6858478">
                <a:moveTo>
                  <a:pt x="0" y="6858478"/>
                </a:moveTo>
                <a:lnTo>
                  <a:pt x="6754318" y="6858478"/>
                </a:lnTo>
                <a:lnTo>
                  <a:pt x="3577943" y="0"/>
                </a:lnTo>
                <a:lnTo>
                  <a:pt x="3572366" y="0"/>
                </a:lnTo>
                <a:lnTo>
                  <a:pt x="250613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F78796AF-79A0-47AC-BEFD-BFFC00F968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1" y="-478"/>
            <a:ext cx="5953780" cy="6858478"/>
          </a:xfrm>
          <a:custGeom>
            <a:avLst/>
            <a:gdLst>
              <a:gd name="connsiteX0" fmla="*/ 0 w 5953780"/>
              <a:gd name="connsiteY0" fmla="*/ 6858478 h 6858478"/>
              <a:gd name="connsiteX1" fmla="*/ 5953780 w 5953780"/>
              <a:gd name="connsiteY1" fmla="*/ 6858478 h 6858478"/>
              <a:gd name="connsiteX2" fmla="*/ 2777405 w 5953780"/>
              <a:gd name="connsiteY2" fmla="*/ 0 h 6858478"/>
              <a:gd name="connsiteX3" fmla="*/ 2771828 w 5953780"/>
              <a:gd name="connsiteY3" fmla="*/ 0 h 6858478"/>
              <a:gd name="connsiteX4" fmla="*/ 1705600 w 5953780"/>
              <a:gd name="connsiteY4" fmla="*/ 0 h 6858478"/>
              <a:gd name="connsiteX5" fmla="*/ 0 w 5953780"/>
              <a:gd name="connsiteY5" fmla="*/ 0 h 685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3780" h="6858478">
                <a:moveTo>
                  <a:pt x="0" y="6858478"/>
                </a:moveTo>
                <a:lnTo>
                  <a:pt x="5953780" y="6858478"/>
                </a:lnTo>
                <a:lnTo>
                  <a:pt x="2777405" y="0"/>
                </a:lnTo>
                <a:lnTo>
                  <a:pt x="2771828" y="0"/>
                </a:lnTo>
                <a:lnTo>
                  <a:pt x="1705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4FE247A-8F75-4C88-B436-3C3A1B3C5F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8735" y="250434"/>
            <a:ext cx="3877056" cy="1537143"/>
          </a:xfrm>
        </p:spPr>
        <p:txBody>
          <a:bodyPr anchor="b">
            <a:normAutofit/>
          </a:bodyPr>
          <a:lstStyle/>
          <a:p>
            <a:pPr algn="l"/>
            <a:r>
              <a:rPr lang="es-ES" sz="3200" b="1" dirty="0"/>
              <a:t>Convocatorias POISES Movimiento Asociativo (FSE)</a:t>
            </a:r>
            <a:endParaRPr lang="es-ES" sz="3200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8751AA6-3060-4C7A-BD27-B3C613A0E3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3840" y="2733789"/>
            <a:ext cx="4140191" cy="2336635"/>
          </a:xfrm>
        </p:spPr>
        <p:txBody>
          <a:bodyPr anchor="t">
            <a:normAutofit/>
          </a:bodyPr>
          <a:lstStyle/>
          <a:p>
            <a:pPr algn="l"/>
            <a:r>
              <a:rPr lang="es-ES" sz="1900" b="1" dirty="0"/>
              <a:t>Sabina Lobato</a:t>
            </a:r>
          </a:p>
          <a:p>
            <a:pPr algn="l"/>
            <a:r>
              <a:rPr lang="es-ES" sz="1900" dirty="0"/>
              <a:t>Directora de Formación y Empleo, Operaciones y Convenios - Fundación ONCE</a:t>
            </a:r>
          </a:p>
        </p:txBody>
      </p:sp>
      <p:pic>
        <p:nvPicPr>
          <p:cNvPr id="10" name="Imagen 9" descr="Logo de Fundación ONCE&#10;&#10;Logo de Fundación ONCE">
            <a:extLst>
              <a:ext uri="{FF2B5EF4-FFF2-40B4-BE49-F238E27FC236}">
                <a16:creationId xmlns:a16="http://schemas.microsoft.com/office/drawing/2014/main" id="{49DF0C87-ADED-4806-AAB6-6C14433636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sp>
        <p:nvSpPr>
          <p:cNvPr id="11" name="Subtítulo 2">
            <a:extLst>
              <a:ext uri="{FF2B5EF4-FFF2-40B4-BE49-F238E27FC236}">
                <a16:creationId xmlns:a16="http://schemas.microsoft.com/office/drawing/2014/main" id="{1027862F-D31D-4BB8-A13F-62CA88A49D4B}"/>
              </a:ext>
            </a:extLst>
          </p:cNvPr>
          <p:cNvSpPr txBox="1">
            <a:spLocks/>
          </p:cNvSpPr>
          <p:nvPr/>
        </p:nvSpPr>
        <p:spPr>
          <a:xfrm>
            <a:off x="5612966" y="1920240"/>
            <a:ext cx="6335194" cy="205027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340" marR="387985" algn="ctr">
              <a:spcAft>
                <a:spcPts val="0"/>
              </a:spcAft>
            </a:pPr>
            <a:r>
              <a:rPr lang="es-ES" sz="20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Convocatorias de Ayudas Económicas para la Selección de Operaciones para personas con discapacidad año 2022-2023 para: </a:t>
            </a:r>
            <a:r>
              <a:rPr lang="es-E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 </a:t>
            </a:r>
          </a:p>
          <a:p>
            <a:pPr marL="180340" marR="387985" algn="ctr">
              <a:spcAft>
                <a:spcPts val="0"/>
              </a:spcAft>
            </a:pPr>
            <a:endParaRPr lang="es-ES" sz="1400" dirty="0">
              <a:solidFill>
                <a:schemeClr val="bg1"/>
              </a:solidFill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180340" marR="387985" algn="ctr">
              <a:spcAft>
                <a:spcPts val="0"/>
              </a:spcAft>
            </a:pPr>
            <a:r>
              <a:rPr lang="es-ES" sz="32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1. Itinerarios personalizados de empleo </a:t>
            </a:r>
          </a:p>
          <a:p>
            <a:pPr marL="180340" marR="387985" algn="ctr">
              <a:spcAft>
                <a:spcPts val="0"/>
              </a:spcAft>
            </a:pPr>
            <a:r>
              <a:rPr lang="es-ES" sz="3200" b="1" dirty="0">
                <a:solidFill>
                  <a:srgbClr val="C00000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2. Acciones formativas para el empleo</a:t>
            </a:r>
            <a:endParaRPr lang="es-ES" sz="3200" dirty="0">
              <a:solidFill>
                <a:srgbClr val="C00000"/>
              </a:solidFill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9CACE8D-366C-4668-B92A-65F22740C8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112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9806C6F-4189-4D30-92F8-74DA9044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76" y="675107"/>
            <a:ext cx="10515600" cy="758277"/>
          </a:xfrm>
        </p:spPr>
        <p:txBody>
          <a:bodyPr>
            <a:normAutofit fontScale="90000"/>
          </a:bodyPr>
          <a:lstStyle/>
          <a:p>
            <a:r>
              <a:rPr lang="es-ES" sz="5400" dirty="0"/>
              <a:t>Requisitos de las operaciones</a:t>
            </a:r>
          </a:p>
        </p:txBody>
      </p:sp>
      <p:sp>
        <p:nvSpPr>
          <p:cNvPr id="10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n 9" descr="Logo de Fundación ONCE&#10;&#10;Logo de Fundación ONCE">
            <a:extLst>
              <a:ext uri="{FF2B5EF4-FFF2-40B4-BE49-F238E27FC236}">
                <a16:creationId xmlns:a16="http://schemas.microsoft.com/office/drawing/2014/main" id="{3256AD08-B940-4E1E-83EE-EC0A64AC1D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8006D8-2CC2-4E6F-A645-7C7859D9B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A96055C-35AC-473F-829A-811A4CADFE7D}"/>
              </a:ext>
            </a:extLst>
          </p:cNvPr>
          <p:cNvSpPr txBox="1"/>
          <p:nvPr/>
        </p:nvSpPr>
        <p:spPr>
          <a:xfrm>
            <a:off x="669035" y="2424899"/>
            <a:ext cx="10683241" cy="32470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sz="2000" b="1" dirty="0">
                <a:latin typeface="Arial" panose="020B0604020202020204" pitchFamily="34" charset="0"/>
                <a:cs typeface="Arial" panose="020B0604020202020204" pitchFamily="34" charset="0"/>
              </a:rPr>
              <a:t>Grupos</a:t>
            </a:r>
            <a:r>
              <a:rPr lang="es-ES" sz="20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s-ES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a 25 personas participantes </a:t>
            </a:r>
            <a:r>
              <a:rPr lang="es-ES" sz="2000" dirty="0">
                <a:latin typeface="Arial" panose="020B0604020202020204" pitchFamily="34" charset="0"/>
                <a:cs typeface="Arial" panose="020B0604020202020204" pitchFamily="34" charset="0"/>
              </a:rPr>
              <a:t>(excepto en la primera fase, </a:t>
            </a:r>
            <a:r>
              <a:rPr lang="es-ES" sz="2000" b="1" dirty="0">
                <a:latin typeface="Arial" panose="020B0604020202020204" pitchFamily="34" charset="0"/>
                <a:cs typeface="Arial" panose="020B0604020202020204" pitchFamily="34" charset="0"/>
              </a:rPr>
              <a:t>valoración</a:t>
            </a:r>
            <a:r>
              <a:rPr lang="es-ES" sz="2000" dirty="0">
                <a:latin typeface="Arial" panose="020B0604020202020204" pitchFamily="34" charset="0"/>
                <a:cs typeface="Arial" panose="020B0604020202020204" pitchFamily="34" charset="0"/>
              </a:rPr>
              <a:t>, en la que el máximo es de 50 personas).</a:t>
            </a:r>
          </a:p>
          <a:p>
            <a:pPr lvl="1"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endParaRPr lang="es-E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Aft>
                <a:spcPts val="600"/>
              </a:spcAft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3 tipos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e</a:t>
            </a:r>
            <a:r>
              <a:rPr lang="es-ES" sz="20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ctuaciones</a:t>
            </a:r>
            <a:r>
              <a:rPr lang="es-ES" sz="2000" b="1" dirty="0">
                <a:solidFill>
                  <a:srgbClr val="C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1371600" lvl="2" indent="-457200">
              <a:buClr>
                <a:srgbClr val="C00000"/>
              </a:buClr>
              <a:buSzPct val="100000"/>
              <a:buFont typeface="+mj-lt"/>
              <a:buAutoNum type="arabicPeriod"/>
            </a:pPr>
            <a:r>
              <a:rPr lang="es-E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tinerarios personalizados generales</a:t>
            </a:r>
          </a:p>
          <a:p>
            <a:pPr marL="1371600" lvl="2" indent="-457200">
              <a:buClr>
                <a:srgbClr val="C00000"/>
              </a:buClr>
              <a:buSzPct val="100000"/>
              <a:buFont typeface="+mj-lt"/>
              <a:buAutoNum type="arabicPeriod"/>
            </a:pPr>
            <a:r>
              <a:rPr lang="es-ES" sz="2000" b="1" dirty="0">
                <a:solidFill>
                  <a:srgbClr val="C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tinerarios personalizados rurales</a:t>
            </a:r>
          </a:p>
          <a:p>
            <a:pPr marL="1371600" lvl="2" indent="-457200">
              <a:buClr>
                <a:srgbClr val="C00000"/>
              </a:buClr>
              <a:buSzPct val="100000"/>
              <a:buFont typeface="+mj-lt"/>
              <a:buAutoNum type="arabicPeriod"/>
            </a:pPr>
            <a:r>
              <a:rPr lang="es-E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tinerarios personalizados con empleo con apoyo</a:t>
            </a:r>
            <a:endParaRPr lang="es-ES" sz="2000" b="1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endParaRPr lang="es-ES" sz="2000" b="1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sz="20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umplir los </a:t>
            </a:r>
            <a:r>
              <a:rPr lang="es-ES" sz="2000" b="1" dirty="0">
                <a:solidFill>
                  <a:srgbClr val="C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equisitos mínimos en cuanto a actuaciones obligatorias </a:t>
            </a:r>
            <a:r>
              <a:rPr lang="es-ES" sz="20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entro de cada tipología de itinerario.</a:t>
            </a:r>
            <a:endParaRPr lang="es-E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95254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dirty="0">
                <a:cs typeface="Arial" panose="020B0604020202020204" pitchFamily="34" charset="0"/>
              </a:rPr>
              <a:t>Fases: itinerarios personalizados de empleo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F0FE147E-7B62-41A7-B5F6-F698E5D4FC5A}"/>
              </a:ext>
            </a:extLst>
          </p:cNvPr>
          <p:cNvSpPr/>
          <p:nvPr/>
        </p:nvSpPr>
        <p:spPr>
          <a:xfrm>
            <a:off x="0" y="6568751"/>
            <a:ext cx="1390261" cy="2892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" name="Graphic 2" descr="Walk with solid fill">
            <a:extLst>
              <a:ext uri="{FF2B5EF4-FFF2-40B4-BE49-F238E27FC236}">
                <a16:creationId xmlns:a16="http://schemas.microsoft.com/office/drawing/2014/main" id="{080C076A-F536-4939-B59E-092A09DDCA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7771" y="4699274"/>
            <a:ext cx="914400" cy="914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F89D9E3-9F85-4B3F-B8C4-84DB18B09A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7288" y="5007879"/>
            <a:ext cx="10138527" cy="1234327"/>
          </a:xfrm>
          <a:prstGeom prst="rect">
            <a:avLst/>
          </a:prstGeom>
        </p:spPr>
      </p:pic>
      <p:pic>
        <p:nvPicPr>
          <p:cNvPr id="18" name="Imagen 9" descr="Logo de Fundación ONCE&#10;&#10;Logo de Fundación ONCE">
            <a:extLst>
              <a:ext uri="{FF2B5EF4-FFF2-40B4-BE49-F238E27FC236}">
                <a16:creationId xmlns:a16="http://schemas.microsoft.com/office/drawing/2014/main" id="{248DC733-C2E7-4463-83F4-CA7FAF4F18C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9C4A834-6BB9-4344-92C4-8CDCE3CDB6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99FE0A1-FCE3-4693-87E5-78A521F903A1}"/>
              </a:ext>
            </a:extLst>
          </p:cNvPr>
          <p:cNvSpPr/>
          <p:nvPr/>
        </p:nvSpPr>
        <p:spPr>
          <a:xfrm>
            <a:off x="996147" y="1867971"/>
            <a:ext cx="2484245" cy="28341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9875">
              <a:spcAft>
                <a:spcPts val="600"/>
              </a:spcAft>
            </a:pPr>
            <a:r>
              <a:rPr lang="es-ES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ración</a:t>
            </a:r>
            <a:r>
              <a:rPr lang="es-E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s-E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evistas a candidatos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s-E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gida de datos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s-E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gnóstico de necesidades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estionarios a candidatos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o con las familias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raciones psicológicas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731F8485-3F42-4217-B44D-EEFC7E163A3D}"/>
              </a:ext>
            </a:extLst>
          </p:cNvPr>
          <p:cNvSpPr/>
          <p:nvPr/>
        </p:nvSpPr>
        <p:spPr>
          <a:xfrm>
            <a:off x="774971" y="1711496"/>
            <a:ext cx="504000" cy="50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45DD52-D66D-4B93-B1F1-D6FA28484E5D}"/>
              </a:ext>
            </a:extLst>
          </p:cNvPr>
          <p:cNvSpPr txBox="1"/>
          <p:nvPr/>
        </p:nvSpPr>
        <p:spPr>
          <a:xfrm>
            <a:off x="6830180" y="6169709"/>
            <a:ext cx="24076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 dirty="0">
                <a:solidFill>
                  <a:srgbClr val="C00000"/>
                </a:solidFill>
              </a:rPr>
              <a:t>Leyenda:</a:t>
            </a:r>
          </a:p>
          <a:p>
            <a:r>
              <a:rPr lang="es-ES" sz="1200" b="1" dirty="0">
                <a:solidFill>
                  <a:schemeClr val="tx1"/>
                </a:solidFill>
              </a:rPr>
              <a:t>En negrita actuaciones obligatorias</a:t>
            </a:r>
          </a:p>
          <a:p>
            <a:r>
              <a:rPr lang="es-E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 gris actuaciones opciona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8EC4232-2D4F-49DA-BCCE-E2273D764891}"/>
              </a:ext>
            </a:extLst>
          </p:cNvPr>
          <p:cNvSpPr/>
          <p:nvPr/>
        </p:nvSpPr>
        <p:spPr>
          <a:xfrm>
            <a:off x="3623070" y="1875630"/>
            <a:ext cx="2484245" cy="28341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9875">
              <a:spcAft>
                <a:spcPts val="600"/>
              </a:spcAft>
            </a:pPr>
            <a:r>
              <a:rPr lang="es-ES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entación</a:t>
            </a:r>
            <a:r>
              <a:rPr lang="es-E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s-E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eño del itinerario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s-E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torías o sesiones de seguimiento (al menos dos al mes durante el tiempo de desarrollo del itinerario).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torías con las familias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BC1A9F5-AC92-4534-9B45-363548062B5C}"/>
              </a:ext>
            </a:extLst>
          </p:cNvPr>
          <p:cNvSpPr/>
          <p:nvPr/>
        </p:nvSpPr>
        <p:spPr>
          <a:xfrm>
            <a:off x="3437808" y="1701653"/>
            <a:ext cx="504000" cy="50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8114032-A588-49B6-B7AD-E1A3D7D365CC}"/>
              </a:ext>
            </a:extLst>
          </p:cNvPr>
          <p:cNvSpPr/>
          <p:nvPr/>
        </p:nvSpPr>
        <p:spPr>
          <a:xfrm>
            <a:off x="6249993" y="1864559"/>
            <a:ext cx="2484245" cy="28341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9875">
              <a:spcAft>
                <a:spcPts val="600"/>
              </a:spcAft>
            </a:pPr>
            <a:r>
              <a:rPr lang="es-ES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rrollo del itinerario: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s-E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ción en competencias transversales (mínimo 30 horas) </a:t>
            </a:r>
            <a:r>
              <a:rPr lang="es-ES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r>
              <a:rPr lang="es-E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marL="447675" indent="-177800">
              <a:buFont typeface="+mj-lt"/>
              <a:buAutoNum type="alphaLcPeriod"/>
            </a:pPr>
            <a:r>
              <a:rPr lang="es-E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ción específica para el puesto de trabajo (mínimo 85 horas), </a:t>
            </a:r>
            <a:r>
              <a:rPr lang="es-ES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</a:p>
          <a:p>
            <a:pPr marL="447675" indent="-177800">
              <a:buFont typeface="+mj-lt"/>
              <a:buAutoNum type="alphaLcPeriod"/>
            </a:pPr>
            <a:r>
              <a:rPr lang="es-E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ivación a otras formaciones*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53B2C97-368D-41C0-888E-55ED7EBD532D}"/>
              </a:ext>
            </a:extLst>
          </p:cNvPr>
          <p:cNvSpPr/>
          <p:nvPr/>
        </p:nvSpPr>
        <p:spPr>
          <a:xfrm>
            <a:off x="6064731" y="1690582"/>
            <a:ext cx="504000" cy="50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1E01046-7104-4F9A-9B06-F6F7775E0380}"/>
              </a:ext>
            </a:extLst>
          </p:cNvPr>
          <p:cNvSpPr txBox="1"/>
          <p:nvPr/>
        </p:nvSpPr>
        <p:spPr>
          <a:xfrm>
            <a:off x="868881" y="6337918"/>
            <a:ext cx="56998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Si se lleva a cabo la derivación en vez de la formación, se abonará únicamente el 60% de la dotación económica correspondiente a esta fase.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D2EF740-3665-4635-813D-F5A0361D11E8}"/>
              </a:ext>
            </a:extLst>
          </p:cNvPr>
          <p:cNvSpPr/>
          <p:nvPr/>
        </p:nvSpPr>
        <p:spPr>
          <a:xfrm>
            <a:off x="8876636" y="1868959"/>
            <a:ext cx="2484245" cy="28341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9875">
              <a:spcAft>
                <a:spcPts val="600"/>
              </a:spcAft>
            </a:pPr>
            <a:r>
              <a:rPr lang="es-ES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ción: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s-E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úsqueda de ofertas y presentación de candidatos (40% dotación económica) e inserción (100% dotación económica).</a:t>
            </a:r>
            <a:endParaRPr lang="es-ES" sz="14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paración de entrevistas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ompañamiento en desplazamientos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ación del puesto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uimiento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endParaRPr lang="es-E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6E1B68C-279D-4915-A27C-ECA8FD6D9DF7}"/>
              </a:ext>
            </a:extLst>
          </p:cNvPr>
          <p:cNvSpPr/>
          <p:nvPr/>
        </p:nvSpPr>
        <p:spPr>
          <a:xfrm>
            <a:off x="8691374" y="1694982"/>
            <a:ext cx="504000" cy="504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4</a:t>
            </a: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8022A045-6247-4923-AC1F-981413470ED0}"/>
              </a:ext>
            </a:extLst>
          </p:cNvPr>
          <p:cNvGrpSpPr/>
          <p:nvPr/>
        </p:nvGrpSpPr>
        <p:grpSpPr>
          <a:xfrm>
            <a:off x="11251093" y="4801300"/>
            <a:ext cx="510782" cy="730048"/>
            <a:chOff x="502358" y="1493207"/>
            <a:chExt cx="4258379" cy="6086389"/>
          </a:xfrm>
        </p:grpSpPr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F7154415-11CF-4A2C-9905-D08C64693065}"/>
                </a:ext>
              </a:extLst>
            </p:cNvPr>
            <p:cNvSpPr/>
            <p:nvPr/>
          </p:nvSpPr>
          <p:spPr>
            <a:xfrm>
              <a:off x="884481" y="1821961"/>
              <a:ext cx="221762" cy="5264650"/>
            </a:xfrm>
            <a:custGeom>
              <a:avLst/>
              <a:gdLst>
                <a:gd name="connsiteX0" fmla="*/ 0 w 221761"/>
                <a:gd name="connsiteY0" fmla="*/ 0 h 4054963"/>
                <a:gd name="connsiteX1" fmla="*/ 221761 w 221761"/>
                <a:gd name="connsiteY1" fmla="*/ 0 h 4054963"/>
                <a:gd name="connsiteX2" fmla="*/ 221761 w 221761"/>
                <a:gd name="connsiteY2" fmla="*/ 4054964 h 4054963"/>
                <a:gd name="connsiteX3" fmla="*/ 0 w 221761"/>
                <a:gd name="connsiteY3" fmla="*/ 4054964 h 4054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761" h="4054963">
                  <a:moveTo>
                    <a:pt x="0" y="0"/>
                  </a:moveTo>
                  <a:lnTo>
                    <a:pt x="221761" y="0"/>
                  </a:lnTo>
                  <a:lnTo>
                    <a:pt x="221761" y="4054964"/>
                  </a:lnTo>
                  <a:lnTo>
                    <a:pt x="0" y="4054964"/>
                  </a:lnTo>
                  <a:close/>
                </a:path>
              </a:pathLst>
            </a:custGeom>
            <a:solidFill>
              <a:srgbClr val="E6EAE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152" name="Graphic 17">
              <a:extLst>
                <a:ext uri="{FF2B5EF4-FFF2-40B4-BE49-F238E27FC236}">
                  <a16:creationId xmlns:a16="http://schemas.microsoft.com/office/drawing/2014/main" id="{39C305DA-A7C4-47BD-95A0-80E67E6EBC5A}"/>
                </a:ext>
              </a:extLst>
            </p:cNvPr>
            <p:cNvGrpSpPr/>
            <p:nvPr/>
          </p:nvGrpSpPr>
          <p:grpSpPr>
            <a:xfrm>
              <a:off x="831094" y="1493207"/>
              <a:ext cx="328555" cy="5922160"/>
              <a:chOff x="4295565" y="990600"/>
              <a:chExt cx="328555" cy="5922160"/>
            </a:xfrm>
            <a:solidFill>
              <a:srgbClr val="CDD3DA"/>
            </a:solidFill>
          </p:grpSpPr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765A3879-B76F-4647-BFD2-2BFBA4A8B25D}"/>
                  </a:ext>
                </a:extLst>
              </p:cNvPr>
              <p:cNvSpPr/>
              <p:nvPr/>
            </p:nvSpPr>
            <p:spPr>
              <a:xfrm>
                <a:off x="4295565" y="990600"/>
                <a:ext cx="328555" cy="328755"/>
              </a:xfrm>
              <a:custGeom>
                <a:avLst/>
                <a:gdLst>
                  <a:gd name="connsiteX0" fmla="*/ 0 w 328555"/>
                  <a:gd name="connsiteY0" fmla="*/ 0 h 328755"/>
                  <a:gd name="connsiteX1" fmla="*/ 328555 w 328555"/>
                  <a:gd name="connsiteY1" fmla="*/ 0 h 328755"/>
                  <a:gd name="connsiteX2" fmla="*/ 328555 w 328555"/>
                  <a:gd name="connsiteY2" fmla="*/ 328755 h 328755"/>
                  <a:gd name="connsiteX3" fmla="*/ 0 w 328555"/>
                  <a:gd name="connsiteY3" fmla="*/ 328755 h 328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8555" h="328755">
                    <a:moveTo>
                      <a:pt x="0" y="0"/>
                    </a:moveTo>
                    <a:lnTo>
                      <a:pt x="328555" y="0"/>
                    </a:lnTo>
                    <a:lnTo>
                      <a:pt x="328555" y="328755"/>
                    </a:lnTo>
                    <a:lnTo>
                      <a:pt x="0" y="328755"/>
                    </a:lnTo>
                    <a:close/>
                  </a:path>
                </a:pathLst>
              </a:custGeom>
              <a:solidFill>
                <a:srgbClr val="CDD3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302862A0-1C6C-4312-8EDB-82A1F157B008}"/>
                  </a:ext>
                </a:extLst>
              </p:cNvPr>
              <p:cNvSpPr/>
              <p:nvPr/>
            </p:nvSpPr>
            <p:spPr>
              <a:xfrm>
                <a:off x="4295565" y="6584005"/>
                <a:ext cx="328555" cy="328755"/>
              </a:xfrm>
              <a:custGeom>
                <a:avLst/>
                <a:gdLst>
                  <a:gd name="connsiteX0" fmla="*/ 0 w 328555"/>
                  <a:gd name="connsiteY0" fmla="*/ 0 h 328755"/>
                  <a:gd name="connsiteX1" fmla="*/ 328555 w 328555"/>
                  <a:gd name="connsiteY1" fmla="*/ 0 h 328755"/>
                  <a:gd name="connsiteX2" fmla="*/ 328555 w 328555"/>
                  <a:gd name="connsiteY2" fmla="*/ 328756 h 328755"/>
                  <a:gd name="connsiteX3" fmla="*/ 0 w 328555"/>
                  <a:gd name="connsiteY3" fmla="*/ 328756 h 328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8555" h="328755">
                    <a:moveTo>
                      <a:pt x="0" y="0"/>
                    </a:moveTo>
                    <a:lnTo>
                      <a:pt x="328555" y="0"/>
                    </a:lnTo>
                    <a:lnTo>
                      <a:pt x="328555" y="328756"/>
                    </a:lnTo>
                    <a:lnTo>
                      <a:pt x="0" y="328756"/>
                    </a:lnTo>
                    <a:close/>
                  </a:path>
                </a:pathLst>
              </a:custGeom>
              <a:solidFill>
                <a:srgbClr val="CDD3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E190B13C-9D51-406E-9754-4A3FAD10F927}"/>
                </a:ext>
              </a:extLst>
            </p:cNvPr>
            <p:cNvSpPr/>
            <p:nvPr/>
          </p:nvSpPr>
          <p:spPr>
            <a:xfrm>
              <a:off x="502358" y="7415309"/>
              <a:ext cx="986085" cy="164287"/>
            </a:xfrm>
            <a:custGeom>
              <a:avLst/>
              <a:gdLst>
                <a:gd name="connsiteX0" fmla="*/ 0 w 986085"/>
                <a:gd name="connsiteY0" fmla="*/ 0 h 164287"/>
                <a:gd name="connsiteX1" fmla="*/ 986085 w 986085"/>
                <a:gd name="connsiteY1" fmla="*/ 0 h 164287"/>
                <a:gd name="connsiteX2" fmla="*/ 986085 w 986085"/>
                <a:gd name="connsiteY2" fmla="*/ 164287 h 164287"/>
                <a:gd name="connsiteX3" fmla="*/ 0 w 986085"/>
                <a:gd name="connsiteY3" fmla="*/ 164287 h 16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6085" h="164287">
                  <a:moveTo>
                    <a:pt x="0" y="0"/>
                  </a:moveTo>
                  <a:lnTo>
                    <a:pt x="986085" y="0"/>
                  </a:lnTo>
                  <a:lnTo>
                    <a:pt x="986085" y="164287"/>
                  </a:lnTo>
                  <a:lnTo>
                    <a:pt x="0" y="164287"/>
                  </a:lnTo>
                  <a:close/>
                </a:path>
              </a:pathLst>
            </a:custGeom>
            <a:solidFill>
              <a:srgbClr val="AAB5B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48FB7AFF-ADB2-488A-9812-4DA44D1A51F5}"/>
                </a:ext>
              </a:extLst>
            </p:cNvPr>
            <p:cNvSpPr/>
            <p:nvPr/>
          </p:nvSpPr>
          <p:spPr>
            <a:xfrm>
              <a:off x="2706433" y="2314985"/>
              <a:ext cx="2054304" cy="1834610"/>
            </a:xfrm>
            <a:custGeom>
              <a:avLst/>
              <a:gdLst>
                <a:gd name="connsiteX0" fmla="*/ 2054304 w 2054304"/>
                <a:gd name="connsiteY0" fmla="*/ 1834610 h 1834610"/>
                <a:gd name="connsiteX1" fmla="*/ 0 w 2054304"/>
                <a:gd name="connsiteY1" fmla="*/ 1834610 h 1834610"/>
                <a:gd name="connsiteX2" fmla="*/ 0 w 2054304"/>
                <a:gd name="connsiteY2" fmla="*/ 0 h 1834610"/>
                <a:gd name="connsiteX3" fmla="*/ 2054304 w 2054304"/>
                <a:gd name="connsiteY3" fmla="*/ 0 h 1834610"/>
                <a:gd name="connsiteX4" fmla="*/ 1411329 w 2054304"/>
                <a:gd name="connsiteY4" fmla="*/ 917077 h 183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4304" h="1834610">
                  <a:moveTo>
                    <a:pt x="2054304" y="1834610"/>
                  </a:moveTo>
                  <a:lnTo>
                    <a:pt x="0" y="1834610"/>
                  </a:lnTo>
                  <a:lnTo>
                    <a:pt x="0" y="0"/>
                  </a:lnTo>
                  <a:lnTo>
                    <a:pt x="2054304" y="0"/>
                  </a:lnTo>
                  <a:lnTo>
                    <a:pt x="1411329" y="917077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930946BE-A919-4AEE-B81B-88E52667CB5D}"/>
                </a:ext>
              </a:extLst>
            </p:cNvPr>
            <p:cNvSpPr/>
            <p:nvPr/>
          </p:nvSpPr>
          <p:spPr>
            <a:xfrm>
              <a:off x="2706433" y="2314985"/>
              <a:ext cx="843276" cy="1834610"/>
            </a:xfrm>
            <a:custGeom>
              <a:avLst/>
              <a:gdLst>
                <a:gd name="connsiteX0" fmla="*/ 518798 w 843276"/>
                <a:gd name="connsiteY0" fmla="*/ 0 h 1834610"/>
                <a:gd name="connsiteX1" fmla="*/ 0 w 843276"/>
                <a:gd name="connsiteY1" fmla="*/ 0 h 1834610"/>
                <a:gd name="connsiteX2" fmla="*/ 0 w 843276"/>
                <a:gd name="connsiteY2" fmla="*/ 1834610 h 1834610"/>
                <a:gd name="connsiteX3" fmla="*/ 843277 w 843276"/>
                <a:gd name="connsiteY3" fmla="*/ 1834610 h 183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3276" h="1834610">
                  <a:moveTo>
                    <a:pt x="518798" y="0"/>
                  </a:moveTo>
                  <a:lnTo>
                    <a:pt x="0" y="0"/>
                  </a:lnTo>
                  <a:lnTo>
                    <a:pt x="0" y="1834610"/>
                  </a:lnTo>
                  <a:lnTo>
                    <a:pt x="843277" y="1834610"/>
                  </a:lnTo>
                  <a:close/>
                </a:path>
              </a:pathLst>
            </a:custGeom>
            <a:solidFill>
              <a:srgbClr val="0C233C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E349A7DE-78DA-491F-A75B-3F11E4086548}"/>
                </a:ext>
              </a:extLst>
            </p:cNvPr>
            <p:cNvSpPr/>
            <p:nvPr/>
          </p:nvSpPr>
          <p:spPr>
            <a:xfrm>
              <a:off x="1106243" y="1950006"/>
              <a:ext cx="2054304" cy="1834457"/>
            </a:xfrm>
            <a:custGeom>
              <a:avLst/>
              <a:gdLst>
                <a:gd name="connsiteX0" fmla="*/ 0 w 2054304"/>
                <a:gd name="connsiteY0" fmla="*/ 0 h 1834457"/>
                <a:gd name="connsiteX1" fmla="*/ 2054305 w 2054304"/>
                <a:gd name="connsiteY1" fmla="*/ 0 h 1834457"/>
                <a:gd name="connsiteX2" fmla="*/ 2054305 w 2054304"/>
                <a:gd name="connsiteY2" fmla="*/ 1834458 h 1834457"/>
                <a:gd name="connsiteX3" fmla="*/ 0 w 2054304"/>
                <a:gd name="connsiteY3" fmla="*/ 1834458 h 183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4304" h="1834457">
                  <a:moveTo>
                    <a:pt x="0" y="0"/>
                  </a:moveTo>
                  <a:lnTo>
                    <a:pt x="2054305" y="0"/>
                  </a:lnTo>
                  <a:lnTo>
                    <a:pt x="2054305" y="1834458"/>
                  </a:lnTo>
                  <a:lnTo>
                    <a:pt x="0" y="1834458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BF259349-D7E9-4996-AF5E-C885C6483B38}"/>
                </a:ext>
              </a:extLst>
            </p:cNvPr>
            <p:cNvSpPr/>
            <p:nvPr/>
          </p:nvSpPr>
          <p:spPr>
            <a:xfrm>
              <a:off x="2706433" y="3784426"/>
              <a:ext cx="454113" cy="365350"/>
            </a:xfrm>
            <a:custGeom>
              <a:avLst/>
              <a:gdLst>
                <a:gd name="connsiteX0" fmla="*/ 454114 w 454113"/>
                <a:gd name="connsiteY0" fmla="*/ 0 h 365350"/>
                <a:gd name="connsiteX1" fmla="*/ 0 w 454113"/>
                <a:gd name="connsiteY1" fmla="*/ 0 h 365350"/>
                <a:gd name="connsiteX2" fmla="*/ 0 w 454113"/>
                <a:gd name="connsiteY2" fmla="*/ 365350 h 36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4113" h="365350">
                  <a:moveTo>
                    <a:pt x="454114" y="0"/>
                  </a:moveTo>
                  <a:lnTo>
                    <a:pt x="0" y="0"/>
                  </a:lnTo>
                  <a:lnTo>
                    <a:pt x="0" y="365350"/>
                  </a:lnTo>
                  <a:close/>
                </a:path>
              </a:pathLst>
            </a:custGeom>
            <a:solidFill>
              <a:srgbClr val="0C233C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568974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dirty="0">
                <a:cs typeface="Arial" panose="020B0604020202020204" pitchFamily="34" charset="0"/>
              </a:rPr>
              <a:t>Fases: itinerarios personalizados rurales y empleo con apoyo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F0FE147E-7B62-41A7-B5F6-F698E5D4FC5A}"/>
              </a:ext>
            </a:extLst>
          </p:cNvPr>
          <p:cNvSpPr/>
          <p:nvPr/>
        </p:nvSpPr>
        <p:spPr>
          <a:xfrm>
            <a:off x="0" y="6568751"/>
            <a:ext cx="1390261" cy="2892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" name="Graphic 2" descr="Walk with solid fill">
            <a:extLst>
              <a:ext uri="{FF2B5EF4-FFF2-40B4-BE49-F238E27FC236}">
                <a16:creationId xmlns:a16="http://schemas.microsoft.com/office/drawing/2014/main" id="{080C076A-F536-4939-B59E-092A09DDCA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7771" y="4699274"/>
            <a:ext cx="914400" cy="914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F89D9E3-9F85-4B3F-B8C4-84DB18B09A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7288" y="5007879"/>
            <a:ext cx="10138527" cy="1234327"/>
          </a:xfrm>
          <a:prstGeom prst="rect">
            <a:avLst/>
          </a:prstGeom>
        </p:spPr>
      </p:pic>
      <p:pic>
        <p:nvPicPr>
          <p:cNvPr id="18" name="Imagen 9" descr="Logo de Fundación ONCE&#10;&#10;Logo de Fundación ONCE">
            <a:extLst>
              <a:ext uri="{FF2B5EF4-FFF2-40B4-BE49-F238E27FC236}">
                <a16:creationId xmlns:a16="http://schemas.microsoft.com/office/drawing/2014/main" id="{248DC733-C2E7-4463-83F4-CA7FAF4F18C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9C4A834-6BB9-4344-92C4-8CDCE3CDB6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grpSp>
        <p:nvGrpSpPr>
          <p:cNvPr id="150" name="Group 149">
            <a:extLst>
              <a:ext uri="{FF2B5EF4-FFF2-40B4-BE49-F238E27FC236}">
                <a16:creationId xmlns:a16="http://schemas.microsoft.com/office/drawing/2014/main" id="{8022A045-6247-4923-AC1F-981413470ED0}"/>
              </a:ext>
            </a:extLst>
          </p:cNvPr>
          <p:cNvGrpSpPr/>
          <p:nvPr/>
        </p:nvGrpSpPr>
        <p:grpSpPr>
          <a:xfrm>
            <a:off x="11251093" y="4801300"/>
            <a:ext cx="510782" cy="730048"/>
            <a:chOff x="502358" y="1493207"/>
            <a:chExt cx="4258379" cy="6086389"/>
          </a:xfrm>
        </p:grpSpPr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F7154415-11CF-4A2C-9905-D08C64693065}"/>
                </a:ext>
              </a:extLst>
            </p:cNvPr>
            <p:cNvSpPr/>
            <p:nvPr/>
          </p:nvSpPr>
          <p:spPr>
            <a:xfrm>
              <a:off x="884481" y="1821961"/>
              <a:ext cx="221762" cy="5264650"/>
            </a:xfrm>
            <a:custGeom>
              <a:avLst/>
              <a:gdLst>
                <a:gd name="connsiteX0" fmla="*/ 0 w 221761"/>
                <a:gd name="connsiteY0" fmla="*/ 0 h 4054963"/>
                <a:gd name="connsiteX1" fmla="*/ 221761 w 221761"/>
                <a:gd name="connsiteY1" fmla="*/ 0 h 4054963"/>
                <a:gd name="connsiteX2" fmla="*/ 221761 w 221761"/>
                <a:gd name="connsiteY2" fmla="*/ 4054964 h 4054963"/>
                <a:gd name="connsiteX3" fmla="*/ 0 w 221761"/>
                <a:gd name="connsiteY3" fmla="*/ 4054964 h 4054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761" h="4054963">
                  <a:moveTo>
                    <a:pt x="0" y="0"/>
                  </a:moveTo>
                  <a:lnTo>
                    <a:pt x="221761" y="0"/>
                  </a:lnTo>
                  <a:lnTo>
                    <a:pt x="221761" y="4054964"/>
                  </a:lnTo>
                  <a:lnTo>
                    <a:pt x="0" y="4054964"/>
                  </a:lnTo>
                  <a:close/>
                </a:path>
              </a:pathLst>
            </a:custGeom>
            <a:solidFill>
              <a:srgbClr val="E6EAE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152" name="Graphic 17">
              <a:extLst>
                <a:ext uri="{FF2B5EF4-FFF2-40B4-BE49-F238E27FC236}">
                  <a16:creationId xmlns:a16="http://schemas.microsoft.com/office/drawing/2014/main" id="{39C305DA-A7C4-47BD-95A0-80E67E6EBC5A}"/>
                </a:ext>
              </a:extLst>
            </p:cNvPr>
            <p:cNvGrpSpPr/>
            <p:nvPr/>
          </p:nvGrpSpPr>
          <p:grpSpPr>
            <a:xfrm>
              <a:off x="831094" y="1493207"/>
              <a:ext cx="328555" cy="5922160"/>
              <a:chOff x="4295565" y="990600"/>
              <a:chExt cx="328555" cy="5922160"/>
            </a:xfrm>
            <a:solidFill>
              <a:srgbClr val="CDD3DA"/>
            </a:solidFill>
          </p:grpSpPr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765A3879-B76F-4647-BFD2-2BFBA4A8B25D}"/>
                  </a:ext>
                </a:extLst>
              </p:cNvPr>
              <p:cNvSpPr/>
              <p:nvPr/>
            </p:nvSpPr>
            <p:spPr>
              <a:xfrm>
                <a:off x="4295565" y="990600"/>
                <a:ext cx="328555" cy="328755"/>
              </a:xfrm>
              <a:custGeom>
                <a:avLst/>
                <a:gdLst>
                  <a:gd name="connsiteX0" fmla="*/ 0 w 328555"/>
                  <a:gd name="connsiteY0" fmla="*/ 0 h 328755"/>
                  <a:gd name="connsiteX1" fmla="*/ 328555 w 328555"/>
                  <a:gd name="connsiteY1" fmla="*/ 0 h 328755"/>
                  <a:gd name="connsiteX2" fmla="*/ 328555 w 328555"/>
                  <a:gd name="connsiteY2" fmla="*/ 328755 h 328755"/>
                  <a:gd name="connsiteX3" fmla="*/ 0 w 328555"/>
                  <a:gd name="connsiteY3" fmla="*/ 328755 h 328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8555" h="328755">
                    <a:moveTo>
                      <a:pt x="0" y="0"/>
                    </a:moveTo>
                    <a:lnTo>
                      <a:pt x="328555" y="0"/>
                    </a:lnTo>
                    <a:lnTo>
                      <a:pt x="328555" y="328755"/>
                    </a:lnTo>
                    <a:lnTo>
                      <a:pt x="0" y="328755"/>
                    </a:lnTo>
                    <a:close/>
                  </a:path>
                </a:pathLst>
              </a:custGeom>
              <a:solidFill>
                <a:srgbClr val="CDD3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302862A0-1C6C-4312-8EDB-82A1F157B008}"/>
                  </a:ext>
                </a:extLst>
              </p:cNvPr>
              <p:cNvSpPr/>
              <p:nvPr/>
            </p:nvSpPr>
            <p:spPr>
              <a:xfrm>
                <a:off x="4295565" y="6584005"/>
                <a:ext cx="328555" cy="328755"/>
              </a:xfrm>
              <a:custGeom>
                <a:avLst/>
                <a:gdLst>
                  <a:gd name="connsiteX0" fmla="*/ 0 w 328555"/>
                  <a:gd name="connsiteY0" fmla="*/ 0 h 328755"/>
                  <a:gd name="connsiteX1" fmla="*/ 328555 w 328555"/>
                  <a:gd name="connsiteY1" fmla="*/ 0 h 328755"/>
                  <a:gd name="connsiteX2" fmla="*/ 328555 w 328555"/>
                  <a:gd name="connsiteY2" fmla="*/ 328756 h 328755"/>
                  <a:gd name="connsiteX3" fmla="*/ 0 w 328555"/>
                  <a:gd name="connsiteY3" fmla="*/ 328756 h 328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8555" h="328755">
                    <a:moveTo>
                      <a:pt x="0" y="0"/>
                    </a:moveTo>
                    <a:lnTo>
                      <a:pt x="328555" y="0"/>
                    </a:lnTo>
                    <a:lnTo>
                      <a:pt x="328555" y="328756"/>
                    </a:lnTo>
                    <a:lnTo>
                      <a:pt x="0" y="328756"/>
                    </a:lnTo>
                    <a:close/>
                  </a:path>
                </a:pathLst>
              </a:custGeom>
              <a:solidFill>
                <a:srgbClr val="CDD3D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E190B13C-9D51-406E-9754-4A3FAD10F927}"/>
                </a:ext>
              </a:extLst>
            </p:cNvPr>
            <p:cNvSpPr/>
            <p:nvPr/>
          </p:nvSpPr>
          <p:spPr>
            <a:xfrm>
              <a:off x="502358" y="7415309"/>
              <a:ext cx="986085" cy="164287"/>
            </a:xfrm>
            <a:custGeom>
              <a:avLst/>
              <a:gdLst>
                <a:gd name="connsiteX0" fmla="*/ 0 w 986085"/>
                <a:gd name="connsiteY0" fmla="*/ 0 h 164287"/>
                <a:gd name="connsiteX1" fmla="*/ 986085 w 986085"/>
                <a:gd name="connsiteY1" fmla="*/ 0 h 164287"/>
                <a:gd name="connsiteX2" fmla="*/ 986085 w 986085"/>
                <a:gd name="connsiteY2" fmla="*/ 164287 h 164287"/>
                <a:gd name="connsiteX3" fmla="*/ 0 w 986085"/>
                <a:gd name="connsiteY3" fmla="*/ 164287 h 16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6085" h="164287">
                  <a:moveTo>
                    <a:pt x="0" y="0"/>
                  </a:moveTo>
                  <a:lnTo>
                    <a:pt x="986085" y="0"/>
                  </a:lnTo>
                  <a:lnTo>
                    <a:pt x="986085" y="164287"/>
                  </a:lnTo>
                  <a:lnTo>
                    <a:pt x="0" y="164287"/>
                  </a:lnTo>
                  <a:close/>
                </a:path>
              </a:pathLst>
            </a:custGeom>
            <a:solidFill>
              <a:srgbClr val="AAB5B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48FB7AFF-ADB2-488A-9812-4DA44D1A51F5}"/>
                </a:ext>
              </a:extLst>
            </p:cNvPr>
            <p:cNvSpPr/>
            <p:nvPr/>
          </p:nvSpPr>
          <p:spPr>
            <a:xfrm>
              <a:off x="2706433" y="2314985"/>
              <a:ext cx="2054304" cy="1834610"/>
            </a:xfrm>
            <a:custGeom>
              <a:avLst/>
              <a:gdLst>
                <a:gd name="connsiteX0" fmla="*/ 2054304 w 2054304"/>
                <a:gd name="connsiteY0" fmla="*/ 1834610 h 1834610"/>
                <a:gd name="connsiteX1" fmla="*/ 0 w 2054304"/>
                <a:gd name="connsiteY1" fmla="*/ 1834610 h 1834610"/>
                <a:gd name="connsiteX2" fmla="*/ 0 w 2054304"/>
                <a:gd name="connsiteY2" fmla="*/ 0 h 1834610"/>
                <a:gd name="connsiteX3" fmla="*/ 2054304 w 2054304"/>
                <a:gd name="connsiteY3" fmla="*/ 0 h 1834610"/>
                <a:gd name="connsiteX4" fmla="*/ 1411329 w 2054304"/>
                <a:gd name="connsiteY4" fmla="*/ 917077 h 183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4304" h="1834610">
                  <a:moveTo>
                    <a:pt x="2054304" y="1834610"/>
                  </a:moveTo>
                  <a:lnTo>
                    <a:pt x="0" y="1834610"/>
                  </a:lnTo>
                  <a:lnTo>
                    <a:pt x="0" y="0"/>
                  </a:lnTo>
                  <a:lnTo>
                    <a:pt x="2054304" y="0"/>
                  </a:lnTo>
                  <a:lnTo>
                    <a:pt x="1411329" y="917077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930946BE-A919-4AEE-B81B-88E52667CB5D}"/>
                </a:ext>
              </a:extLst>
            </p:cNvPr>
            <p:cNvSpPr/>
            <p:nvPr/>
          </p:nvSpPr>
          <p:spPr>
            <a:xfrm>
              <a:off x="2706433" y="2314985"/>
              <a:ext cx="843276" cy="1834610"/>
            </a:xfrm>
            <a:custGeom>
              <a:avLst/>
              <a:gdLst>
                <a:gd name="connsiteX0" fmla="*/ 518798 w 843276"/>
                <a:gd name="connsiteY0" fmla="*/ 0 h 1834610"/>
                <a:gd name="connsiteX1" fmla="*/ 0 w 843276"/>
                <a:gd name="connsiteY1" fmla="*/ 0 h 1834610"/>
                <a:gd name="connsiteX2" fmla="*/ 0 w 843276"/>
                <a:gd name="connsiteY2" fmla="*/ 1834610 h 1834610"/>
                <a:gd name="connsiteX3" fmla="*/ 843277 w 843276"/>
                <a:gd name="connsiteY3" fmla="*/ 1834610 h 183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43276" h="1834610">
                  <a:moveTo>
                    <a:pt x="518798" y="0"/>
                  </a:moveTo>
                  <a:lnTo>
                    <a:pt x="0" y="0"/>
                  </a:lnTo>
                  <a:lnTo>
                    <a:pt x="0" y="1834610"/>
                  </a:lnTo>
                  <a:lnTo>
                    <a:pt x="843277" y="1834610"/>
                  </a:lnTo>
                  <a:close/>
                </a:path>
              </a:pathLst>
            </a:custGeom>
            <a:solidFill>
              <a:srgbClr val="0C233C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E349A7DE-78DA-491F-A75B-3F11E4086548}"/>
                </a:ext>
              </a:extLst>
            </p:cNvPr>
            <p:cNvSpPr/>
            <p:nvPr/>
          </p:nvSpPr>
          <p:spPr>
            <a:xfrm>
              <a:off x="1106243" y="1950006"/>
              <a:ext cx="2054304" cy="1834457"/>
            </a:xfrm>
            <a:custGeom>
              <a:avLst/>
              <a:gdLst>
                <a:gd name="connsiteX0" fmla="*/ 0 w 2054304"/>
                <a:gd name="connsiteY0" fmla="*/ 0 h 1834457"/>
                <a:gd name="connsiteX1" fmla="*/ 2054305 w 2054304"/>
                <a:gd name="connsiteY1" fmla="*/ 0 h 1834457"/>
                <a:gd name="connsiteX2" fmla="*/ 2054305 w 2054304"/>
                <a:gd name="connsiteY2" fmla="*/ 1834458 h 1834457"/>
                <a:gd name="connsiteX3" fmla="*/ 0 w 2054304"/>
                <a:gd name="connsiteY3" fmla="*/ 1834458 h 1834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4304" h="1834457">
                  <a:moveTo>
                    <a:pt x="0" y="0"/>
                  </a:moveTo>
                  <a:lnTo>
                    <a:pt x="2054305" y="0"/>
                  </a:lnTo>
                  <a:lnTo>
                    <a:pt x="2054305" y="1834458"/>
                  </a:lnTo>
                  <a:lnTo>
                    <a:pt x="0" y="1834458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BF259349-D7E9-4996-AF5E-C885C6483B38}"/>
                </a:ext>
              </a:extLst>
            </p:cNvPr>
            <p:cNvSpPr/>
            <p:nvPr/>
          </p:nvSpPr>
          <p:spPr>
            <a:xfrm>
              <a:off x="2706433" y="3784426"/>
              <a:ext cx="454113" cy="365350"/>
            </a:xfrm>
            <a:custGeom>
              <a:avLst/>
              <a:gdLst>
                <a:gd name="connsiteX0" fmla="*/ 454114 w 454113"/>
                <a:gd name="connsiteY0" fmla="*/ 0 h 365350"/>
                <a:gd name="connsiteX1" fmla="*/ 0 w 454113"/>
                <a:gd name="connsiteY1" fmla="*/ 0 h 365350"/>
                <a:gd name="connsiteX2" fmla="*/ 0 w 454113"/>
                <a:gd name="connsiteY2" fmla="*/ 365350 h 36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4113" h="365350">
                  <a:moveTo>
                    <a:pt x="454114" y="0"/>
                  </a:moveTo>
                  <a:lnTo>
                    <a:pt x="0" y="0"/>
                  </a:lnTo>
                  <a:lnTo>
                    <a:pt x="0" y="365350"/>
                  </a:lnTo>
                  <a:close/>
                </a:path>
              </a:pathLst>
            </a:custGeom>
            <a:solidFill>
              <a:srgbClr val="0C233C">
                <a:alpha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C4AD0DE-E95F-4A0C-A9E3-E43CDED218FF}"/>
              </a:ext>
            </a:extLst>
          </p:cNvPr>
          <p:cNvGrpSpPr/>
          <p:nvPr/>
        </p:nvGrpSpPr>
        <p:grpSpPr>
          <a:xfrm>
            <a:off x="838202" y="1911359"/>
            <a:ext cx="10395855" cy="1243288"/>
            <a:chOff x="638714" y="1308295"/>
            <a:chExt cx="10395855" cy="15047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28E8BB2-652B-4E92-A28E-DFCBD1501BB4}"/>
                </a:ext>
              </a:extLst>
            </p:cNvPr>
            <p:cNvSpPr/>
            <p:nvPr/>
          </p:nvSpPr>
          <p:spPr bwMode="auto">
            <a:xfrm>
              <a:off x="3392798" y="1308295"/>
              <a:ext cx="7641771" cy="14907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tIns="0" rIns="0" bIns="0" rtlCol="0" anchor="ctr"/>
            <a:lstStyle/>
            <a:p>
              <a:pPr marL="285750" lvl="1" indent="-285750" algn="just">
                <a:buFont typeface="Arial" panose="020B0604020202020204" pitchFamily="34" charset="0"/>
                <a:buChar char="•"/>
              </a:pPr>
              <a:r>
                <a:rPr lang="es-ES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smos requisitos que los generales en cuanto a fases y actuaciones.</a:t>
              </a:r>
            </a:p>
            <a:p>
              <a:pPr marL="285750" lvl="1" indent="-285750" algn="just">
                <a:buFont typeface="Arial" panose="020B0604020202020204" pitchFamily="34" charset="0"/>
                <a:buChar char="•"/>
              </a:pPr>
              <a:r>
                <a:rPr lang="es-ES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 persona participante debe </a:t>
              </a:r>
              <a:r>
                <a:rPr lang="es-ES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idir en zona rural </a:t>
              </a:r>
              <a:r>
                <a:rPr lang="es-ES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municipio de menos de 5.000 habitantes)</a:t>
              </a:r>
              <a:endParaRPr lang="es-E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Pentagon 26">
              <a:extLst>
                <a:ext uri="{FF2B5EF4-FFF2-40B4-BE49-F238E27FC236}">
                  <a16:creationId xmlns:a16="http://schemas.microsoft.com/office/drawing/2014/main" id="{C13485B4-F095-44AB-A0CD-57A71B6398B1}"/>
                </a:ext>
              </a:extLst>
            </p:cNvPr>
            <p:cNvSpPr/>
            <p:nvPr/>
          </p:nvSpPr>
          <p:spPr bwMode="auto">
            <a:xfrm>
              <a:off x="638714" y="1308295"/>
              <a:ext cx="2996680" cy="1504743"/>
            </a:xfrm>
            <a:prstGeom prst="homePlate">
              <a:avLst>
                <a:gd name="adj" fmla="val 27321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Itinerarios personalizados rurales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10D3F666-425F-4F11-AC97-FB00ABD1F163}"/>
              </a:ext>
            </a:extLst>
          </p:cNvPr>
          <p:cNvGrpSpPr/>
          <p:nvPr/>
        </p:nvGrpSpPr>
        <p:grpSpPr>
          <a:xfrm>
            <a:off x="838202" y="3263784"/>
            <a:ext cx="10395855" cy="1243288"/>
            <a:chOff x="638714" y="1308295"/>
            <a:chExt cx="10395855" cy="150474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C54BD975-666A-4C66-90E5-205C75D489F4}"/>
                </a:ext>
              </a:extLst>
            </p:cNvPr>
            <p:cNvSpPr/>
            <p:nvPr/>
          </p:nvSpPr>
          <p:spPr bwMode="auto">
            <a:xfrm>
              <a:off x="3392798" y="1308295"/>
              <a:ext cx="7641771" cy="14907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tIns="0" rIns="0" bIns="0" rtlCol="0" anchor="ctr"/>
            <a:lstStyle/>
            <a:p>
              <a:pPr marL="285750" lvl="1" indent="-285750" algn="just">
                <a:buFont typeface="Arial" panose="020B0604020202020204" pitchFamily="34" charset="0"/>
                <a:buChar char="•"/>
              </a:pPr>
              <a:r>
                <a:rPr lang="es-ES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smos requisitos que los generales en cuanto a fases y actuaciones.</a:t>
              </a:r>
            </a:p>
            <a:p>
              <a:pPr marL="285750" lvl="1" indent="-285750" algn="just">
                <a:buFont typeface="Arial" panose="020B0604020202020204" pitchFamily="34" charset="0"/>
                <a:buChar char="•"/>
              </a:pPr>
              <a:r>
                <a:rPr lang="es-ES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 añade una </a:t>
              </a:r>
              <a:r>
                <a:rPr lang="es-ES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ase adicional</a:t>
              </a:r>
              <a:r>
                <a:rPr lang="es-ES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con dotación económica adicional, de </a:t>
              </a:r>
              <a:r>
                <a:rPr lang="es-ES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mpleo con apoyo tras la inserción</a:t>
              </a:r>
              <a:r>
                <a:rPr lang="es-ES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lang="es-E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Pentagon 26">
              <a:extLst>
                <a:ext uri="{FF2B5EF4-FFF2-40B4-BE49-F238E27FC236}">
                  <a16:creationId xmlns:a16="http://schemas.microsoft.com/office/drawing/2014/main" id="{423CD1F5-EFF5-48BD-9CE6-F3149404EA53}"/>
                </a:ext>
              </a:extLst>
            </p:cNvPr>
            <p:cNvSpPr/>
            <p:nvPr/>
          </p:nvSpPr>
          <p:spPr bwMode="auto">
            <a:xfrm>
              <a:off x="638714" y="1308295"/>
              <a:ext cx="2996680" cy="1504743"/>
            </a:xfrm>
            <a:prstGeom prst="homePlate">
              <a:avLst>
                <a:gd name="adj" fmla="val 27321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Itinerarios personalizados con empleo con apoyo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010865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9806C6F-4189-4D30-92F8-74DA9044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76" y="675107"/>
            <a:ext cx="10515600" cy="758277"/>
          </a:xfrm>
        </p:spPr>
        <p:txBody>
          <a:bodyPr>
            <a:normAutofit fontScale="90000"/>
          </a:bodyPr>
          <a:lstStyle/>
          <a:p>
            <a:r>
              <a:rPr lang="es-ES" sz="5400" dirty="0"/>
              <a:t>Aportaciones económicas </a:t>
            </a:r>
            <a:r>
              <a:rPr lang="es-ES" sz="4000" dirty="0"/>
              <a:t>(1/3)</a:t>
            </a:r>
            <a:endParaRPr lang="es-ES" sz="5400" dirty="0"/>
          </a:p>
        </p:txBody>
      </p:sp>
      <p:sp>
        <p:nvSpPr>
          <p:cNvPr id="10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n 9" descr="Logo de Fundación ONCE&#10;&#10;Logo de Fundación ONCE">
            <a:extLst>
              <a:ext uri="{FF2B5EF4-FFF2-40B4-BE49-F238E27FC236}">
                <a16:creationId xmlns:a16="http://schemas.microsoft.com/office/drawing/2014/main" id="{3256AD08-B940-4E1E-83EE-EC0A64AC1D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8006D8-2CC2-4E6F-A645-7C7859D9B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sp>
        <p:nvSpPr>
          <p:cNvPr id="13" name="Marcador de contenido 2">
            <a:extLst>
              <a:ext uri="{FF2B5EF4-FFF2-40B4-BE49-F238E27FC236}">
                <a16:creationId xmlns:a16="http://schemas.microsoft.com/office/drawing/2014/main" id="{5D55A84F-9D22-43F2-95D3-4C1EB909A8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723" y="831567"/>
            <a:ext cx="11200843" cy="2844694"/>
          </a:xfrm>
        </p:spPr>
        <p:txBody>
          <a:bodyPr anchor="ctr">
            <a:normAutofit/>
          </a:bodyPr>
          <a:lstStyle/>
          <a:p>
            <a:pPr marL="62230" marR="387985" indent="0" algn="just">
              <a:lnSpc>
                <a:spcPct val="101000"/>
              </a:lnSpc>
              <a:spcBef>
                <a:spcPts val="5"/>
              </a:spcBef>
              <a:spcAft>
                <a:spcPts val="0"/>
              </a:spcAft>
              <a:buNone/>
            </a:pPr>
            <a:endParaRPr lang="es-ES" sz="2400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290830" marR="387985" algn="just">
              <a:lnSpc>
                <a:spcPct val="101000"/>
              </a:lnSpc>
              <a:spcBef>
                <a:spcPts val="5"/>
              </a:spcBef>
              <a:spcAft>
                <a:spcPts val="0"/>
              </a:spcAft>
            </a:pPr>
            <a:endParaRPr lang="es-ES" sz="24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290830" marR="387985" algn="just">
              <a:lnSpc>
                <a:spcPct val="101000"/>
              </a:lnSpc>
              <a:spcBef>
                <a:spcPts val="5"/>
              </a:spcBef>
              <a:spcAft>
                <a:spcPts val="600"/>
              </a:spcAft>
            </a:pPr>
            <a:r>
              <a:rPr lang="es-ES" sz="2400" dirty="0">
                <a:latin typeface="Arial" panose="020B0604020202020204" pitchFamily="34" charset="0"/>
                <a:ea typeface="Arial" panose="020B0604020202020204" pitchFamily="34" charset="0"/>
              </a:rPr>
              <a:t>Se concederá un importe fijo por cada una de las personas participantes que finalicen cada fase de los itinerarios, en función de su tipología</a:t>
            </a:r>
          </a:p>
          <a:p>
            <a:pPr marL="290830" marR="387985" algn="just">
              <a:lnSpc>
                <a:spcPct val="101000"/>
              </a:lnSpc>
              <a:spcBef>
                <a:spcPts val="5"/>
              </a:spcBef>
            </a:pPr>
            <a:r>
              <a:rPr lang="es-ES" sz="2400" b="1" dirty="0">
                <a:solidFill>
                  <a:srgbClr val="C00000"/>
                </a:solidFill>
                <a:latin typeface="Arial" panose="020B0604020202020204" pitchFamily="34" charset="0"/>
              </a:rPr>
              <a:t>Itinerarios personalizados generales</a:t>
            </a:r>
            <a:endParaRPr lang="es-ES" sz="2400" b="1" dirty="0">
              <a:solidFill>
                <a:srgbClr val="C00000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64A42A2-09F9-4AF3-959B-A034FAE927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6757855"/>
              </p:ext>
            </p:extLst>
          </p:nvPr>
        </p:nvGraphicFramePr>
        <p:xfrm>
          <a:off x="836676" y="3530366"/>
          <a:ext cx="10515600" cy="243414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48649">
                  <a:extLst>
                    <a:ext uri="{9D8B030D-6E8A-4147-A177-3AD203B41FA5}">
                      <a16:colId xmlns:a16="http://schemas.microsoft.com/office/drawing/2014/main" val="2347605073"/>
                    </a:ext>
                  </a:extLst>
                </a:gridCol>
                <a:gridCol w="1513071">
                  <a:extLst>
                    <a:ext uri="{9D8B030D-6E8A-4147-A177-3AD203B41FA5}">
                      <a16:colId xmlns:a16="http://schemas.microsoft.com/office/drawing/2014/main" val="4196434700"/>
                    </a:ext>
                  </a:extLst>
                </a:gridCol>
                <a:gridCol w="1607934">
                  <a:extLst>
                    <a:ext uri="{9D8B030D-6E8A-4147-A177-3AD203B41FA5}">
                      <a16:colId xmlns:a16="http://schemas.microsoft.com/office/drawing/2014/main" val="3433847646"/>
                    </a:ext>
                  </a:extLst>
                </a:gridCol>
                <a:gridCol w="1680267">
                  <a:extLst>
                    <a:ext uri="{9D8B030D-6E8A-4147-A177-3AD203B41FA5}">
                      <a16:colId xmlns:a16="http://schemas.microsoft.com/office/drawing/2014/main" val="3690385061"/>
                    </a:ext>
                  </a:extLst>
                </a:gridCol>
                <a:gridCol w="1849834">
                  <a:extLst>
                    <a:ext uri="{9D8B030D-6E8A-4147-A177-3AD203B41FA5}">
                      <a16:colId xmlns:a16="http://schemas.microsoft.com/office/drawing/2014/main" val="1700472301"/>
                    </a:ext>
                  </a:extLst>
                </a:gridCol>
                <a:gridCol w="2015845">
                  <a:extLst>
                    <a:ext uri="{9D8B030D-6E8A-4147-A177-3AD203B41FA5}">
                      <a16:colId xmlns:a16="http://schemas.microsoft.com/office/drawing/2014/main" val="2175662449"/>
                    </a:ext>
                  </a:extLst>
                </a:gridCol>
              </a:tblGrid>
              <a:tr h="980482">
                <a:tc>
                  <a:txBody>
                    <a:bodyPr/>
                    <a:lstStyle/>
                    <a:p>
                      <a:pPr marR="718185">
                        <a:spcBef>
                          <a:spcPts val="605"/>
                        </a:spcBef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s-ES" sz="1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R="273685" algn="ctr"/>
                      <a:r>
                        <a:rPr lang="es-E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R="273685" algn="ctr"/>
                      <a:r>
                        <a:rPr lang="es-ES" sz="1600" u="sng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oración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u="sng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ientación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u="sng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arrollo del itinerario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u="sng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mediación o inserción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6642178"/>
                  </a:ext>
                </a:extLst>
              </a:tr>
              <a:tr h="615583">
                <a:tc gridSpan="2">
                  <a:txBody>
                    <a:bodyPr/>
                    <a:lstStyle/>
                    <a:p>
                      <a:r>
                        <a:rPr lang="es-E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centaje del total por fase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%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%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0972173"/>
                  </a:ext>
                </a:extLst>
              </a:tr>
              <a:tr h="838082">
                <a:tc>
                  <a:txBody>
                    <a:bodyPr/>
                    <a:lstStyle/>
                    <a:p>
                      <a:r>
                        <a:rPr lang="es-E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orte total por persona participante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20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240,00 €</a:t>
                      </a:r>
                      <a:endParaRPr lang="es-ES" sz="20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2,00 €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8,00 €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232,00 €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8,00 €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25645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0215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9806C6F-4189-4D30-92F8-74DA9044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76" y="675107"/>
            <a:ext cx="10515600" cy="758277"/>
          </a:xfrm>
        </p:spPr>
        <p:txBody>
          <a:bodyPr>
            <a:normAutofit fontScale="90000"/>
          </a:bodyPr>
          <a:lstStyle/>
          <a:p>
            <a:r>
              <a:rPr lang="es-ES" sz="5400" dirty="0"/>
              <a:t>Aportaciones económicas </a:t>
            </a:r>
            <a:r>
              <a:rPr lang="es-ES" sz="4000" dirty="0"/>
              <a:t>(2/3)</a:t>
            </a:r>
            <a:endParaRPr lang="es-ES" sz="5400" dirty="0"/>
          </a:p>
        </p:txBody>
      </p:sp>
      <p:sp>
        <p:nvSpPr>
          <p:cNvPr id="10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n 9" descr="Logo de Fundación ONCE&#10;&#10;Logo de Fundación ONCE">
            <a:extLst>
              <a:ext uri="{FF2B5EF4-FFF2-40B4-BE49-F238E27FC236}">
                <a16:creationId xmlns:a16="http://schemas.microsoft.com/office/drawing/2014/main" id="{3256AD08-B940-4E1E-83EE-EC0A64AC1D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8006D8-2CC2-4E6F-A645-7C7859D9B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sp>
        <p:nvSpPr>
          <p:cNvPr id="13" name="Marcador de contenido 2">
            <a:extLst>
              <a:ext uri="{FF2B5EF4-FFF2-40B4-BE49-F238E27FC236}">
                <a16:creationId xmlns:a16="http://schemas.microsoft.com/office/drawing/2014/main" id="{5D55A84F-9D22-43F2-95D3-4C1EB909A8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723" y="831567"/>
            <a:ext cx="11200843" cy="2844694"/>
          </a:xfrm>
        </p:spPr>
        <p:txBody>
          <a:bodyPr anchor="ctr">
            <a:normAutofit/>
          </a:bodyPr>
          <a:lstStyle/>
          <a:p>
            <a:pPr marL="62230" marR="387985" indent="0" algn="just">
              <a:lnSpc>
                <a:spcPct val="101000"/>
              </a:lnSpc>
              <a:spcBef>
                <a:spcPts val="5"/>
              </a:spcBef>
              <a:spcAft>
                <a:spcPts val="0"/>
              </a:spcAft>
              <a:buNone/>
            </a:pPr>
            <a:endParaRPr lang="es-ES" sz="2400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290830" marR="387985" algn="just">
              <a:lnSpc>
                <a:spcPct val="101000"/>
              </a:lnSpc>
              <a:spcBef>
                <a:spcPts val="5"/>
              </a:spcBef>
              <a:spcAft>
                <a:spcPts val="0"/>
              </a:spcAft>
            </a:pPr>
            <a:endParaRPr lang="es-ES" sz="24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290830" marR="387985" algn="just">
              <a:lnSpc>
                <a:spcPct val="101000"/>
              </a:lnSpc>
              <a:spcBef>
                <a:spcPts val="5"/>
              </a:spcBef>
              <a:spcAft>
                <a:spcPts val="600"/>
              </a:spcAft>
            </a:pPr>
            <a:r>
              <a:rPr lang="es-ES" sz="2400" dirty="0">
                <a:latin typeface="Arial" panose="020B0604020202020204" pitchFamily="34" charset="0"/>
                <a:ea typeface="Arial" panose="020B0604020202020204" pitchFamily="34" charset="0"/>
              </a:rPr>
              <a:t>Se concederá un importe fijo por cada una de las personas participantes que finalicen cada fase de los itinerarios, en función de su tipología</a:t>
            </a:r>
          </a:p>
          <a:p>
            <a:pPr marL="290830" marR="387985" algn="just">
              <a:lnSpc>
                <a:spcPct val="101000"/>
              </a:lnSpc>
              <a:spcBef>
                <a:spcPts val="5"/>
              </a:spcBef>
            </a:pPr>
            <a:r>
              <a:rPr lang="es-ES" sz="2400" b="1" dirty="0">
                <a:solidFill>
                  <a:srgbClr val="C00000"/>
                </a:solidFill>
                <a:latin typeface="Arial" panose="020B0604020202020204" pitchFamily="34" charset="0"/>
              </a:rPr>
              <a:t>Itinerarios personalizados rurales</a:t>
            </a:r>
            <a:endParaRPr lang="es-ES" sz="2400" b="1" dirty="0">
              <a:solidFill>
                <a:srgbClr val="C00000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64A42A2-09F9-4AF3-959B-A034FAE927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6887067"/>
              </p:ext>
            </p:extLst>
          </p:nvPr>
        </p:nvGraphicFramePr>
        <p:xfrm>
          <a:off x="836676" y="3530366"/>
          <a:ext cx="10515600" cy="243414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48649">
                  <a:extLst>
                    <a:ext uri="{9D8B030D-6E8A-4147-A177-3AD203B41FA5}">
                      <a16:colId xmlns:a16="http://schemas.microsoft.com/office/drawing/2014/main" val="2347605073"/>
                    </a:ext>
                  </a:extLst>
                </a:gridCol>
                <a:gridCol w="1513071">
                  <a:extLst>
                    <a:ext uri="{9D8B030D-6E8A-4147-A177-3AD203B41FA5}">
                      <a16:colId xmlns:a16="http://schemas.microsoft.com/office/drawing/2014/main" val="4196434700"/>
                    </a:ext>
                  </a:extLst>
                </a:gridCol>
                <a:gridCol w="1607934">
                  <a:extLst>
                    <a:ext uri="{9D8B030D-6E8A-4147-A177-3AD203B41FA5}">
                      <a16:colId xmlns:a16="http://schemas.microsoft.com/office/drawing/2014/main" val="3433847646"/>
                    </a:ext>
                  </a:extLst>
                </a:gridCol>
                <a:gridCol w="1680267">
                  <a:extLst>
                    <a:ext uri="{9D8B030D-6E8A-4147-A177-3AD203B41FA5}">
                      <a16:colId xmlns:a16="http://schemas.microsoft.com/office/drawing/2014/main" val="3690385061"/>
                    </a:ext>
                  </a:extLst>
                </a:gridCol>
                <a:gridCol w="1849834">
                  <a:extLst>
                    <a:ext uri="{9D8B030D-6E8A-4147-A177-3AD203B41FA5}">
                      <a16:colId xmlns:a16="http://schemas.microsoft.com/office/drawing/2014/main" val="1700472301"/>
                    </a:ext>
                  </a:extLst>
                </a:gridCol>
                <a:gridCol w="2015845">
                  <a:extLst>
                    <a:ext uri="{9D8B030D-6E8A-4147-A177-3AD203B41FA5}">
                      <a16:colId xmlns:a16="http://schemas.microsoft.com/office/drawing/2014/main" val="2175662449"/>
                    </a:ext>
                  </a:extLst>
                </a:gridCol>
              </a:tblGrid>
              <a:tr h="980482">
                <a:tc>
                  <a:txBody>
                    <a:bodyPr/>
                    <a:lstStyle/>
                    <a:p>
                      <a:pPr marR="718185">
                        <a:spcBef>
                          <a:spcPts val="605"/>
                        </a:spcBef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s-ES" sz="1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R="273685" algn="ctr"/>
                      <a:r>
                        <a:rPr lang="es-E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R="273685" algn="ctr"/>
                      <a:r>
                        <a:rPr lang="es-ES" sz="1600" u="sng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oración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u="sng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ientación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u="sng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arrollo del itinerario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u="sng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mediación o inserción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6642178"/>
                  </a:ext>
                </a:extLst>
              </a:tr>
              <a:tr h="615583">
                <a:tc gridSpan="2">
                  <a:txBody>
                    <a:bodyPr/>
                    <a:lstStyle/>
                    <a:p>
                      <a:r>
                        <a:rPr lang="es-E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centaje del total por fase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%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%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0972173"/>
                  </a:ext>
                </a:extLst>
              </a:tr>
              <a:tr h="838082">
                <a:tc>
                  <a:txBody>
                    <a:bodyPr/>
                    <a:lstStyle/>
                    <a:p>
                      <a:r>
                        <a:rPr lang="es-E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orte total por persona participante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20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900,00 €</a:t>
                      </a:r>
                      <a:endParaRPr lang="es-ES" sz="20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5,00 €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0,00 €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595,00 €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0,00 €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25645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32076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9806C6F-4189-4D30-92F8-74DA9044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76" y="675107"/>
            <a:ext cx="10515600" cy="758277"/>
          </a:xfrm>
        </p:spPr>
        <p:txBody>
          <a:bodyPr>
            <a:normAutofit fontScale="90000"/>
          </a:bodyPr>
          <a:lstStyle/>
          <a:p>
            <a:r>
              <a:rPr lang="es-ES" sz="5400" dirty="0"/>
              <a:t>Aportaciones económicas </a:t>
            </a:r>
            <a:r>
              <a:rPr lang="es-ES" sz="4000" dirty="0"/>
              <a:t>(3/3)</a:t>
            </a:r>
            <a:endParaRPr lang="es-ES" sz="5400" dirty="0"/>
          </a:p>
        </p:txBody>
      </p:sp>
      <p:sp>
        <p:nvSpPr>
          <p:cNvPr id="10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n 9" descr="Logo de Fundación ONCE&#10;&#10;Logo de Fundación ONCE">
            <a:extLst>
              <a:ext uri="{FF2B5EF4-FFF2-40B4-BE49-F238E27FC236}">
                <a16:creationId xmlns:a16="http://schemas.microsoft.com/office/drawing/2014/main" id="{3256AD08-B940-4E1E-83EE-EC0A64AC1D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8006D8-2CC2-4E6F-A645-7C7859D9B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sp>
        <p:nvSpPr>
          <p:cNvPr id="13" name="Marcador de contenido 2">
            <a:extLst>
              <a:ext uri="{FF2B5EF4-FFF2-40B4-BE49-F238E27FC236}">
                <a16:creationId xmlns:a16="http://schemas.microsoft.com/office/drawing/2014/main" id="{5D55A84F-9D22-43F2-95D3-4C1EB909A8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723" y="831567"/>
            <a:ext cx="11200843" cy="2844694"/>
          </a:xfrm>
        </p:spPr>
        <p:txBody>
          <a:bodyPr anchor="ctr">
            <a:normAutofit/>
          </a:bodyPr>
          <a:lstStyle/>
          <a:p>
            <a:pPr marL="62230" marR="387985" indent="0" algn="just">
              <a:lnSpc>
                <a:spcPct val="101000"/>
              </a:lnSpc>
              <a:spcBef>
                <a:spcPts val="5"/>
              </a:spcBef>
              <a:spcAft>
                <a:spcPts val="0"/>
              </a:spcAft>
              <a:buNone/>
            </a:pPr>
            <a:endParaRPr lang="es-ES" sz="2400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290830" marR="387985" algn="just">
              <a:lnSpc>
                <a:spcPct val="101000"/>
              </a:lnSpc>
              <a:spcBef>
                <a:spcPts val="5"/>
              </a:spcBef>
              <a:spcAft>
                <a:spcPts val="0"/>
              </a:spcAft>
            </a:pPr>
            <a:endParaRPr lang="es-ES" sz="24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290830" marR="387985" algn="just">
              <a:lnSpc>
                <a:spcPct val="101000"/>
              </a:lnSpc>
              <a:spcBef>
                <a:spcPts val="5"/>
              </a:spcBef>
              <a:spcAft>
                <a:spcPts val="600"/>
              </a:spcAft>
            </a:pPr>
            <a:r>
              <a:rPr lang="es-ES" sz="2400" dirty="0">
                <a:latin typeface="Arial" panose="020B0604020202020204" pitchFamily="34" charset="0"/>
                <a:ea typeface="Arial" panose="020B0604020202020204" pitchFamily="34" charset="0"/>
              </a:rPr>
              <a:t>Se concederá un importe fijo por cada una de las personas participantes que finalicen cada fase de los itinerarios, en función de su tipología</a:t>
            </a:r>
          </a:p>
          <a:p>
            <a:pPr marL="290830" marR="387985" algn="just">
              <a:lnSpc>
                <a:spcPct val="101000"/>
              </a:lnSpc>
              <a:spcBef>
                <a:spcPts val="5"/>
              </a:spcBef>
            </a:pPr>
            <a:r>
              <a:rPr lang="es-ES" sz="2400" b="1" dirty="0">
                <a:solidFill>
                  <a:srgbClr val="C00000"/>
                </a:solidFill>
                <a:latin typeface="Arial" panose="020B0604020202020204" pitchFamily="34" charset="0"/>
              </a:rPr>
              <a:t>Itinerarios personalizados con empleo con apoyo</a:t>
            </a:r>
            <a:endParaRPr lang="es-ES" sz="2400" b="1" dirty="0">
              <a:solidFill>
                <a:srgbClr val="C00000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64A42A2-09F9-4AF3-959B-A034FAE927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0308603"/>
              </p:ext>
            </p:extLst>
          </p:nvPr>
        </p:nvGraphicFramePr>
        <p:xfrm>
          <a:off x="836676" y="3530366"/>
          <a:ext cx="10515599" cy="243414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84010">
                  <a:extLst>
                    <a:ext uri="{9D8B030D-6E8A-4147-A177-3AD203B41FA5}">
                      <a16:colId xmlns:a16="http://schemas.microsoft.com/office/drawing/2014/main" val="2347605073"/>
                    </a:ext>
                  </a:extLst>
                </a:gridCol>
                <a:gridCol w="167260">
                  <a:extLst>
                    <a:ext uri="{9D8B030D-6E8A-4147-A177-3AD203B41FA5}">
                      <a16:colId xmlns:a16="http://schemas.microsoft.com/office/drawing/2014/main" val="3994379317"/>
                    </a:ext>
                  </a:extLst>
                </a:gridCol>
                <a:gridCol w="1176348">
                  <a:extLst>
                    <a:ext uri="{9D8B030D-6E8A-4147-A177-3AD203B41FA5}">
                      <a16:colId xmlns:a16="http://schemas.microsoft.com/office/drawing/2014/main" val="4196434700"/>
                    </a:ext>
                  </a:extLst>
                </a:gridCol>
                <a:gridCol w="1502228">
                  <a:extLst>
                    <a:ext uri="{9D8B030D-6E8A-4147-A177-3AD203B41FA5}">
                      <a16:colId xmlns:a16="http://schemas.microsoft.com/office/drawing/2014/main" val="3433847646"/>
                    </a:ext>
                  </a:extLst>
                </a:gridCol>
                <a:gridCol w="1350349">
                  <a:extLst>
                    <a:ext uri="{9D8B030D-6E8A-4147-A177-3AD203B41FA5}">
                      <a16:colId xmlns:a16="http://schemas.microsoft.com/office/drawing/2014/main" val="3690385061"/>
                    </a:ext>
                  </a:extLst>
                </a:gridCol>
                <a:gridCol w="1552264">
                  <a:extLst>
                    <a:ext uri="{9D8B030D-6E8A-4147-A177-3AD203B41FA5}">
                      <a16:colId xmlns:a16="http://schemas.microsoft.com/office/drawing/2014/main" val="1700472301"/>
                    </a:ext>
                  </a:extLst>
                </a:gridCol>
                <a:gridCol w="1691570">
                  <a:extLst>
                    <a:ext uri="{9D8B030D-6E8A-4147-A177-3AD203B41FA5}">
                      <a16:colId xmlns:a16="http://schemas.microsoft.com/office/drawing/2014/main" val="2175662449"/>
                    </a:ext>
                  </a:extLst>
                </a:gridCol>
                <a:gridCol w="1691570">
                  <a:extLst>
                    <a:ext uri="{9D8B030D-6E8A-4147-A177-3AD203B41FA5}">
                      <a16:colId xmlns:a16="http://schemas.microsoft.com/office/drawing/2014/main" val="204165369"/>
                    </a:ext>
                  </a:extLst>
                </a:gridCol>
              </a:tblGrid>
              <a:tr h="980482">
                <a:tc gridSpan="2">
                  <a:txBody>
                    <a:bodyPr/>
                    <a:lstStyle/>
                    <a:p>
                      <a:pPr marR="718185">
                        <a:spcBef>
                          <a:spcPts val="605"/>
                        </a:spcBef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s-ES" sz="1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pPr marR="718185">
                        <a:spcBef>
                          <a:spcPts val="605"/>
                        </a:spcBef>
                        <a:spcAft>
                          <a:spcPts val="0"/>
                        </a:spcAft>
                      </a:pPr>
                      <a:endParaRPr lang="es-ES" sz="1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R="273685" algn="ctr"/>
                      <a:r>
                        <a:rPr lang="es-E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R="273685" algn="ctr"/>
                      <a:r>
                        <a:rPr lang="es-ES" sz="1600" u="sng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oración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u="sng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ientación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u="sng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arrollo del itinerario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u="sng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mediación o inserción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mpleo con apoyo</a:t>
                      </a: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6642178"/>
                  </a:ext>
                </a:extLst>
              </a:tr>
              <a:tr h="615583">
                <a:tc gridSpan="3">
                  <a:txBody>
                    <a:bodyPr/>
                    <a:lstStyle/>
                    <a:p>
                      <a:r>
                        <a:rPr lang="es-E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centaje del total por fase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%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%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dicional 40%</a:t>
                      </a: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0972173"/>
                  </a:ext>
                </a:extLst>
              </a:tr>
              <a:tr h="838082">
                <a:tc>
                  <a:txBody>
                    <a:bodyPr/>
                    <a:lstStyle/>
                    <a:p>
                      <a:r>
                        <a:rPr lang="es-E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orte total por persona participante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s-ES" sz="18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140,00 €</a:t>
                      </a:r>
                      <a:endParaRPr lang="es-E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s-ES" sz="18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140,00 €</a:t>
                      </a:r>
                      <a:endParaRPr lang="es-ES" sz="18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2,00 €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8,00 €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232,00 €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8,00 €</a:t>
                      </a:r>
                      <a:endParaRPr lang="es-ES" sz="2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00,00 €</a:t>
                      </a:r>
                    </a:p>
                  </a:txBody>
                  <a:tcPr marL="68580" marR="6858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25645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51485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806C6F-4189-4D30-92F8-74DA9044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76" y="675107"/>
            <a:ext cx="10515600" cy="758277"/>
          </a:xfrm>
        </p:spPr>
        <p:txBody>
          <a:bodyPr>
            <a:normAutofit fontScale="90000"/>
          </a:bodyPr>
          <a:lstStyle/>
          <a:p>
            <a:r>
              <a:rPr lang="es-ES" sz="5400" dirty="0"/>
              <a:t>Plazos</a:t>
            </a:r>
          </a:p>
        </p:txBody>
      </p:sp>
      <p:pic>
        <p:nvPicPr>
          <p:cNvPr id="9" name="Imagen 9" descr="Logo de Fundación ONCE&#10;&#10;Logo de Fundación ONCE">
            <a:extLst>
              <a:ext uri="{FF2B5EF4-FFF2-40B4-BE49-F238E27FC236}">
                <a16:creationId xmlns:a16="http://schemas.microsoft.com/office/drawing/2014/main" id="{3256AD08-B940-4E1E-83EE-EC0A64AC1D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8006D8-2CC2-4E6F-A645-7C7859D9B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51EF93B-18BD-4165-9BD6-D5078D838764}"/>
              </a:ext>
            </a:extLst>
          </p:cNvPr>
          <p:cNvSpPr/>
          <p:nvPr/>
        </p:nvSpPr>
        <p:spPr>
          <a:xfrm>
            <a:off x="0" y="6568751"/>
            <a:ext cx="1390261" cy="2892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5B69ED13-3A2C-4A5C-8E5E-17429C83EE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42188" y="1875453"/>
            <a:ext cx="8388220" cy="3200400"/>
          </a:xfrm>
        </p:spPr>
        <p:txBody>
          <a:bodyPr anchor="ctr">
            <a:normAutofit/>
          </a:bodyPr>
          <a:lstStyle/>
          <a:p>
            <a:pPr marL="41910" marR="387985" indent="0" algn="ctr">
              <a:lnSpc>
                <a:spcPct val="105000"/>
              </a:lnSpc>
              <a:spcBef>
                <a:spcPts val="595"/>
              </a:spcBef>
              <a:buNone/>
              <a:tabLst>
                <a:tab pos="810260" algn="l"/>
              </a:tabLst>
            </a:pPr>
            <a:r>
              <a:rPr lang="es-ES" sz="20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PLAZO DE PRESENTACIÓN SOLICITUDES</a:t>
            </a:r>
            <a:endParaRPr lang="es-ES" sz="20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41910" marR="387985" indent="0" algn="ctr">
              <a:lnSpc>
                <a:spcPct val="105000"/>
              </a:lnSpc>
              <a:spcBef>
                <a:spcPts val="595"/>
              </a:spcBef>
              <a:buNone/>
              <a:tabLst>
                <a:tab pos="810260" algn="l"/>
              </a:tabLst>
            </a:pPr>
            <a:r>
              <a:rPr lang="es-E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2 de diciembre de 2022 12:00 h mediodía</a:t>
            </a:r>
            <a:r>
              <a:rPr lang="es-ES" sz="20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(hora peninsular)</a:t>
            </a:r>
          </a:p>
          <a:p>
            <a:pPr marL="41910" marR="387985" indent="0" algn="ctr">
              <a:lnSpc>
                <a:spcPct val="105000"/>
              </a:lnSpc>
              <a:spcBef>
                <a:spcPts val="595"/>
              </a:spcBef>
              <a:buNone/>
              <a:tabLst>
                <a:tab pos="810260" algn="l"/>
              </a:tabLst>
            </a:pPr>
            <a:endParaRPr lang="es-ES" sz="20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41910" marR="387985" indent="0" algn="ctr">
              <a:lnSpc>
                <a:spcPct val="105000"/>
              </a:lnSpc>
              <a:spcBef>
                <a:spcPts val="595"/>
              </a:spcBef>
              <a:buNone/>
              <a:tabLst>
                <a:tab pos="810260" algn="l"/>
              </a:tabLst>
            </a:pPr>
            <a:endParaRPr lang="es-ES" sz="20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41910" marR="387985" indent="0" algn="ctr">
              <a:lnSpc>
                <a:spcPct val="105000"/>
              </a:lnSpc>
              <a:spcBef>
                <a:spcPts val="595"/>
              </a:spcBef>
              <a:spcAft>
                <a:spcPts val="0"/>
              </a:spcAft>
              <a:buNone/>
              <a:tabLst>
                <a:tab pos="810260" algn="l"/>
              </a:tabLst>
            </a:pPr>
            <a:r>
              <a:rPr lang="es-ES" sz="2000" b="1" dirty="0">
                <a:latin typeface="Arial" panose="020B0604020202020204" pitchFamily="34" charset="0"/>
                <a:ea typeface="Arial" panose="020B0604020202020204" pitchFamily="34" charset="0"/>
              </a:rPr>
              <a:t>PERIODO DE EJECUCIÓN</a:t>
            </a:r>
            <a:endParaRPr lang="es-ES" sz="2000" b="1" dirty="0">
              <a:solidFill>
                <a:srgbClr val="C00000"/>
              </a:solidFill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41910" marR="387985" indent="0" algn="ctr">
              <a:lnSpc>
                <a:spcPct val="105000"/>
              </a:lnSpc>
              <a:spcBef>
                <a:spcPts val="595"/>
              </a:spcBef>
              <a:spcAft>
                <a:spcPts val="0"/>
              </a:spcAft>
              <a:buNone/>
              <a:tabLst>
                <a:tab pos="810260" algn="l"/>
              </a:tabLst>
            </a:pPr>
            <a:r>
              <a:rPr lang="es-E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1 de </a:t>
            </a:r>
            <a:r>
              <a:rPr lang="es-ES" sz="2000" b="1" dirty="0">
                <a:solidFill>
                  <a:srgbClr val="C00000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enero</a:t>
            </a:r>
            <a:r>
              <a:rPr lang="es-E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de 2023 al 30 de septiembre de</a:t>
            </a:r>
            <a:r>
              <a:rPr lang="es-ES" sz="20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2023</a:t>
            </a:r>
            <a:endParaRPr lang="es-ES" sz="2000" dirty="0">
              <a:solidFill>
                <a:srgbClr val="C00000"/>
              </a:solidFill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grpSp>
        <p:nvGrpSpPr>
          <p:cNvPr id="15" name="Calendar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9219290-8678-425F-8F24-D0BBC0E7F4DE}"/>
              </a:ext>
            </a:extLst>
          </p:cNvPr>
          <p:cNvGrpSpPr>
            <a:grpSpLocks noChangeAspect="1"/>
          </p:cNvGrpSpPr>
          <p:nvPr/>
        </p:nvGrpSpPr>
        <p:grpSpPr>
          <a:xfrm>
            <a:off x="10605890" y="671384"/>
            <a:ext cx="746386" cy="762000"/>
            <a:chOff x="4816476" y="6386513"/>
            <a:chExt cx="379413" cy="387350"/>
          </a:xfrm>
          <a:solidFill>
            <a:srgbClr val="C00000"/>
          </a:solidFill>
        </p:grpSpPr>
        <p:sp>
          <p:nvSpPr>
            <p:cNvPr id="16" name="Freeform 1001">
              <a:extLst>
                <a:ext uri="{FF2B5EF4-FFF2-40B4-BE49-F238E27FC236}">
                  <a16:creationId xmlns:a16="http://schemas.microsoft.com/office/drawing/2014/main" id="{C939BF35-2A4E-4FA7-A663-1B2C68EF0A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76" y="6410325"/>
              <a:ext cx="79375" cy="187325"/>
            </a:xfrm>
            <a:custGeom>
              <a:avLst/>
              <a:gdLst>
                <a:gd name="T0" fmla="*/ 100 w 469"/>
                <a:gd name="T1" fmla="*/ 1111 h 1111"/>
                <a:gd name="T2" fmla="*/ 0 w 469"/>
                <a:gd name="T3" fmla="*/ 1111 h 1111"/>
                <a:gd name="T4" fmla="*/ 0 w 469"/>
                <a:gd name="T5" fmla="*/ 202 h 1111"/>
                <a:gd name="T6" fmla="*/ 205 w 469"/>
                <a:gd name="T7" fmla="*/ 0 h 1111"/>
                <a:gd name="T8" fmla="*/ 469 w 469"/>
                <a:gd name="T9" fmla="*/ 0 h 1111"/>
                <a:gd name="T10" fmla="*/ 469 w 469"/>
                <a:gd name="T11" fmla="*/ 100 h 1111"/>
                <a:gd name="T12" fmla="*/ 205 w 469"/>
                <a:gd name="T13" fmla="*/ 100 h 1111"/>
                <a:gd name="T14" fmla="*/ 100 w 469"/>
                <a:gd name="T15" fmla="*/ 202 h 1111"/>
                <a:gd name="T16" fmla="*/ 100 w 469"/>
                <a:gd name="T17" fmla="*/ 1111 h 1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9" h="1111">
                  <a:moveTo>
                    <a:pt x="100" y="1111"/>
                  </a:moveTo>
                  <a:lnTo>
                    <a:pt x="0" y="1111"/>
                  </a:lnTo>
                  <a:lnTo>
                    <a:pt x="0" y="202"/>
                  </a:lnTo>
                  <a:cubicBezTo>
                    <a:pt x="0" y="89"/>
                    <a:pt x="90" y="0"/>
                    <a:pt x="205" y="0"/>
                  </a:cubicBezTo>
                  <a:lnTo>
                    <a:pt x="469" y="0"/>
                  </a:lnTo>
                  <a:lnTo>
                    <a:pt x="469" y="100"/>
                  </a:lnTo>
                  <a:lnTo>
                    <a:pt x="205" y="100"/>
                  </a:lnTo>
                  <a:cubicBezTo>
                    <a:pt x="145" y="100"/>
                    <a:pt x="100" y="144"/>
                    <a:pt x="100" y="202"/>
                  </a:cubicBezTo>
                  <a:lnTo>
                    <a:pt x="100" y="1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002">
              <a:extLst>
                <a:ext uri="{FF2B5EF4-FFF2-40B4-BE49-F238E27FC236}">
                  <a16:creationId xmlns:a16="http://schemas.microsoft.com/office/drawing/2014/main" id="{E640DCDC-CB2A-46F7-B8EA-0AD31EB3DF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6476" y="6610350"/>
              <a:ext cx="17463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1003">
              <a:extLst>
                <a:ext uri="{FF2B5EF4-FFF2-40B4-BE49-F238E27FC236}">
                  <a16:creationId xmlns:a16="http://schemas.microsoft.com/office/drawing/2014/main" id="{610E2FE1-9C0B-431B-A5FD-F3C39778C2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6476" y="6654800"/>
              <a:ext cx="17463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004">
              <a:extLst>
                <a:ext uri="{FF2B5EF4-FFF2-40B4-BE49-F238E27FC236}">
                  <a16:creationId xmlns:a16="http://schemas.microsoft.com/office/drawing/2014/main" id="{05F0A3A8-0AE1-4C53-B485-A99ACD30D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76" y="6410325"/>
              <a:ext cx="379413" cy="363538"/>
            </a:xfrm>
            <a:custGeom>
              <a:avLst/>
              <a:gdLst>
                <a:gd name="T0" fmla="*/ 2042 w 2243"/>
                <a:gd name="T1" fmla="*/ 2150 h 2150"/>
                <a:gd name="T2" fmla="*/ 205 w 2243"/>
                <a:gd name="T3" fmla="*/ 2150 h 2150"/>
                <a:gd name="T4" fmla="*/ 0 w 2243"/>
                <a:gd name="T5" fmla="*/ 1947 h 2150"/>
                <a:gd name="T6" fmla="*/ 0 w 2243"/>
                <a:gd name="T7" fmla="*/ 1619 h 2150"/>
                <a:gd name="T8" fmla="*/ 100 w 2243"/>
                <a:gd name="T9" fmla="*/ 1619 h 2150"/>
                <a:gd name="T10" fmla="*/ 100 w 2243"/>
                <a:gd name="T11" fmla="*/ 1947 h 2150"/>
                <a:gd name="T12" fmla="*/ 205 w 2243"/>
                <a:gd name="T13" fmla="*/ 2050 h 2150"/>
                <a:gd name="T14" fmla="*/ 2042 w 2243"/>
                <a:gd name="T15" fmla="*/ 2050 h 2150"/>
                <a:gd name="T16" fmla="*/ 2143 w 2243"/>
                <a:gd name="T17" fmla="*/ 1947 h 2150"/>
                <a:gd name="T18" fmla="*/ 2143 w 2243"/>
                <a:gd name="T19" fmla="*/ 202 h 2150"/>
                <a:gd name="T20" fmla="*/ 2042 w 2243"/>
                <a:gd name="T21" fmla="*/ 100 h 2150"/>
                <a:gd name="T22" fmla="*/ 1935 w 2243"/>
                <a:gd name="T23" fmla="*/ 100 h 2150"/>
                <a:gd name="T24" fmla="*/ 1935 w 2243"/>
                <a:gd name="T25" fmla="*/ 0 h 2150"/>
                <a:gd name="T26" fmla="*/ 2042 w 2243"/>
                <a:gd name="T27" fmla="*/ 0 h 2150"/>
                <a:gd name="T28" fmla="*/ 2243 w 2243"/>
                <a:gd name="T29" fmla="*/ 202 h 2150"/>
                <a:gd name="T30" fmla="*/ 2243 w 2243"/>
                <a:gd name="T31" fmla="*/ 1947 h 2150"/>
                <a:gd name="T32" fmla="*/ 2042 w 2243"/>
                <a:gd name="T33" fmla="*/ 2150 h 2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43" h="2150">
                  <a:moveTo>
                    <a:pt x="2042" y="2150"/>
                  </a:moveTo>
                  <a:lnTo>
                    <a:pt x="205" y="2150"/>
                  </a:lnTo>
                  <a:cubicBezTo>
                    <a:pt x="90" y="2150"/>
                    <a:pt x="0" y="2061"/>
                    <a:pt x="0" y="1947"/>
                  </a:cubicBezTo>
                  <a:lnTo>
                    <a:pt x="0" y="1619"/>
                  </a:lnTo>
                  <a:lnTo>
                    <a:pt x="100" y="1619"/>
                  </a:lnTo>
                  <a:lnTo>
                    <a:pt x="100" y="1947"/>
                  </a:lnTo>
                  <a:cubicBezTo>
                    <a:pt x="100" y="2004"/>
                    <a:pt x="146" y="2050"/>
                    <a:pt x="205" y="2050"/>
                  </a:cubicBezTo>
                  <a:lnTo>
                    <a:pt x="2042" y="2050"/>
                  </a:lnTo>
                  <a:cubicBezTo>
                    <a:pt x="2100" y="2050"/>
                    <a:pt x="2143" y="2006"/>
                    <a:pt x="2143" y="1947"/>
                  </a:cubicBezTo>
                  <a:lnTo>
                    <a:pt x="2143" y="202"/>
                  </a:lnTo>
                  <a:cubicBezTo>
                    <a:pt x="2143" y="143"/>
                    <a:pt x="2100" y="100"/>
                    <a:pt x="2042" y="100"/>
                  </a:cubicBezTo>
                  <a:lnTo>
                    <a:pt x="1935" y="100"/>
                  </a:lnTo>
                  <a:lnTo>
                    <a:pt x="1935" y="0"/>
                  </a:lnTo>
                  <a:lnTo>
                    <a:pt x="2042" y="0"/>
                  </a:lnTo>
                  <a:cubicBezTo>
                    <a:pt x="2154" y="0"/>
                    <a:pt x="2243" y="89"/>
                    <a:pt x="2243" y="202"/>
                  </a:cubicBezTo>
                  <a:lnTo>
                    <a:pt x="2243" y="1947"/>
                  </a:lnTo>
                  <a:cubicBezTo>
                    <a:pt x="2243" y="2061"/>
                    <a:pt x="2154" y="2150"/>
                    <a:pt x="2042" y="2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1005">
              <a:extLst>
                <a:ext uri="{FF2B5EF4-FFF2-40B4-BE49-F238E27FC236}">
                  <a16:creationId xmlns:a16="http://schemas.microsoft.com/office/drawing/2014/main" id="{A55E4404-B8E0-4B0D-B871-7DBA41065C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51" y="6410325"/>
              <a:ext cx="3175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1006">
              <a:extLst>
                <a:ext uri="{FF2B5EF4-FFF2-40B4-BE49-F238E27FC236}">
                  <a16:creationId xmlns:a16="http://schemas.microsoft.com/office/drawing/2014/main" id="{1CDAF0FA-8CFE-4AD7-85B0-FB50FF12C6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3801" y="6410325"/>
              <a:ext cx="2857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1007">
              <a:extLst>
                <a:ext uri="{FF2B5EF4-FFF2-40B4-BE49-F238E27FC236}">
                  <a16:creationId xmlns:a16="http://schemas.microsoft.com/office/drawing/2014/main" id="{28F023C3-C1E8-47AB-9C3E-E62115B6E4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5539" y="6410325"/>
              <a:ext cx="2857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008">
              <a:extLst>
                <a:ext uri="{FF2B5EF4-FFF2-40B4-BE49-F238E27FC236}">
                  <a16:creationId xmlns:a16="http://schemas.microsoft.com/office/drawing/2014/main" id="{12C79F8C-C774-4ACE-974E-374C0D3412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8389" y="6386513"/>
              <a:ext cx="44450" cy="84138"/>
            </a:xfrm>
            <a:custGeom>
              <a:avLst/>
              <a:gdLst>
                <a:gd name="T0" fmla="*/ 126 w 261"/>
                <a:gd name="T1" fmla="*/ 100 h 491"/>
                <a:gd name="T2" fmla="*/ 100 w 261"/>
                <a:gd name="T3" fmla="*/ 126 h 491"/>
                <a:gd name="T4" fmla="*/ 100 w 261"/>
                <a:gd name="T5" fmla="*/ 365 h 491"/>
                <a:gd name="T6" fmla="*/ 126 w 261"/>
                <a:gd name="T7" fmla="*/ 391 h 491"/>
                <a:gd name="T8" fmla="*/ 135 w 261"/>
                <a:gd name="T9" fmla="*/ 391 h 491"/>
                <a:gd name="T10" fmla="*/ 161 w 261"/>
                <a:gd name="T11" fmla="*/ 365 h 491"/>
                <a:gd name="T12" fmla="*/ 161 w 261"/>
                <a:gd name="T13" fmla="*/ 126 h 491"/>
                <a:gd name="T14" fmla="*/ 135 w 261"/>
                <a:gd name="T15" fmla="*/ 100 h 491"/>
                <a:gd name="T16" fmla="*/ 126 w 261"/>
                <a:gd name="T17" fmla="*/ 100 h 491"/>
                <a:gd name="T18" fmla="*/ 135 w 261"/>
                <a:gd name="T19" fmla="*/ 491 h 491"/>
                <a:gd name="T20" fmla="*/ 126 w 261"/>
                <a:gd name="T21" fmla="*/ 491 h 491"/>
                <a:gd name="T22" fmla="*/ 0 w 261"/>
                <a:gd name="T23" fmla="*/ 365 h 491"/>
                <a:gd name="T24" fmla="*/ 0 w 261"/>
                <a:gd name="T25" fmla="*/ 126 h 491"/>
                <a:gd name="T26" fmla="*/ 126 w 261"/>
                <a:gd name="T27" fmla="*/ 0 h 491"/>
                <a:gd name="T28" fmla="*/ 135 w 261"/>
                <a:gd name="T29" fmla="*/ 0 h 491"/>
                <a:gd name="T30" fmla="*/ 261 w 261"/>
                <a:gd name="T31" fmla="*/ 126 h 491"/>
                <a:gd name="T32" fmla="*/ 261 w 261"/>
                <a:gd name="T33" fmla="*/ 365 h 491"/>
                <a:gd name="T34" fmla="*/ 135 w 261"/>
                <a:gd name="T35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1" h="491">
                  <a:moveTo>
                    <a:pt x="126" y="100"/>
                  </a:moveTo>
                  <a:cubicBezTo>
                    <a:pt x="112" y="100"/>
                    <a:pt x="100" y="111"/>
                    <a:pt x="100" y="126"/>
                  </a:cubicBezTo>
                  <a:lnTo>
                    <a:pt x="100" y="365"/>
                  </a:lnTo>
                  <a:cubicBezTo>
                    <a:pt x="100" y="379"/>
                    <a:pt x="112" y="391"/>
                    <a:pt x="126" y="391"/>
                  </a:cubicBezTo>
                  <a:lnTo>
                    <a:pt x="135" y="391"/>
                  </a:lnTo>
                  <a:cubicBezTo>
                    <a:pt x="149" y="391"/>
                    <a:pt x="161" y="379"/>
                    <a:pt x="161" y="365"/>
                  </a:cubicBezTo>
                  <a:lnTo>
                    <a:pt x="161" y="126"/>
                  </a:lnTo>
                  <a:cubicBezTo>
                    <a:pt x="161" y="111"/>
                    <a:pt x="149" y="100"/>
                    <a:pt x="135" y="100"/>
                  </a:cubicBezTo>
                  <a:lnTo>
                    <a:pt x="126" y="100"/>
                  </a:lnTo>
                  <a:close/>
                  <a:moveTo>
                    <a:pt x="135" y="491"/>
                  </a:moveTo>
                  <a:lnTo>
                    <a:pt x="126" y="491"/>
                  </a:lnTo>
                  <a:cubicBezTo>
                    <a:pt x="57" y="491"/>
                    <a:pt x="0" y="434"/>
                    <a:pt x="0" y="365"/>
                  </a:cubicBezTo>
                  <a:lnTo>
                    <a:pt x="0" y="126"/>
                  </a:lnTo>
                  <a:cubicBezTo>
                    <a:pt x="0" y="56"/>
                    <a:pt x="57" y="0"/>
                    <a:pt x="126" y="0"/>
                  </a:cubicBezTo>
                  <a:lnTo>
                    <a:pt x="135" y="0"/>
                  </a:lnTo>
                  <a:cubicBezTo>
                    <a:pt x="204" y="0"/>
                    <a:pt x="261" y="56"/>
                    <a:pt x="261" y="126"/>
                  </a:cubicBezTo>
                  <a:lnTo>
                    <a:pt x="261" y="365"/>
                  </a:lnTo>
                  <a:cubicBezTo>
                    <a:pt x="261" y="434"/>
                    <a:pt x="204" y="491"/>
                    <a:pt x="135" y="4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010">
              <a:extLst>
                <a:ext uri="{FF2B5EF4-FFF2-40B4-BE49-F238E27FC236}">
                  <a16:creationId xmlns:a16="http://schemas.microsoft.com/office/drawing/2014/main" id="{9DB0E33D-D03C-45AC-87E9-4CA41C64C1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8238" y="6386513"/>
              <a:ext cx="44450" cy="84138"/>
            </a:xfrm>
            <a:custGeom>
              <a:avLst/>
              <a:gdLst>
                <a:gd name="T0" fmla="*/ 126 w 261"/>
                <a:gd name="T1" fmla="*/ 100 h 491"/>
                <a:gd name="T2" fmla="*/ 100 w 261"/>
                <a:gd name="T3" fmla="*/ 126 h 491"/>
                <a:gd name="T4" fmla="*/ 100 w 261"/>
                <a:gd name="T5" fmla="*/ 365 h 491"/>
                <a:gd name="T6" fmla="*/ 126 w 261"/>
                <a:gd name="T7" fmla="*/ 391 h 491"/>
                <a:gd name="T8" fmla="*/ 135 w 261"/>
                <a:gd name="T9" fmla="*/ 391 h 491"/>
                <a:gd name="T10" fmla="*/ 161 w 261"/>
                <a:gd name="T11" fmla="*/ 365 h 491"/>
                <a:gd name="T12" fmla="*/ 161 w 261"/>
                <a:gd name="T13" fmla="*/ 126 h 491"/>
                <a:gd name="T14" fmla="*/ 135 w 261"/>
                <a:gd name="T15" fmla="*/ 100 h 491"/>
                <a:gd name="T16" fmla="*/ 126 w 261"/>
                <a:gd name="T17" fmla="*/ 100 h 491"/>
                <a:gd name="T18" fmla="*/ 135 w 261"/>
                <a:gd name="T19" fmla="*/ 491 h 491"/>
                <a:gd name="T20" fmla="*/ 126 w 261"/>
                <a:gd name="T21" fmla="*/ 491 h 491"/>
                <a:gd name="T22" fmla="*/ 0 w 261"/>
                <a:gd name="T23" fmla="*/ 365 h 491"/>
                <a:gd name="T24" fmla="*/ 0 w 261"/>
                <a:gd name="T25" fmla="*/ 126 h 491"/>
                <a:gd name="T26" fmla="*/ 126 w 261"/>
                <a:gd name="T27" fmla="*/ 0 h 491"/>
                <a:gd name="T28" fmla="*/ 135 w 261"/>
                <a:gd name="T29" fmla="*/ 0 h 491"/>
                <a:gd name="T30" fmla="*/ 261 w 261"/>
                <a:gd name="T31" fmla="*/ 126 h 491"/>
                <a:gd name="T32" fmla="*/ 261 w 261"/>
                <a:gd name="T33" fmla="*/ 365 h 491"/>
                <a:gd name="T34" fmla="*/ 135 w 261"/>
                <a:gd name="T35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1" h="491">
                  <a:moveTo>
                    <a:pt x="126" y="100"/>
                  </a:moveTo>
                  <a:cubicBezTo>
                    <a:pt x="112" y="100"/>
                    <a:pt x="100" y="111"/>
                    <a:pt x="100" y="126"/>
                  </a:cubicBezTo>
                  <a:lnTo>
                    <a:pt x="100" y="365"/>
                  </a:lnTo>
                  <a:cubicBezTo>
                    <a:pt x="100" y="379"/>
                    <a:pt x="112" y="391"/>
                    <a:pt x="126" y="391"/>
                  </a:cubicBezTo>
                  <a:lnTo>
                    <a:pt x="135" y="391"/>
                  </a:lnTo>
                  <a:cubicBezTo>
                    <a:pt x="150" y="391"/>
                    <a:pt x="161" y="379"/>
                    <a:pt x="161" y="365"/>
                  </a:cubicBezTo>
                  <a:lnTo>
                    <a:pt x="161" y="126"/>
                  </a:lnTo>
                  <a:cubicBezTo>
                    <a:pt x="161" y="111"/>
                    <a:pt x="150" y="100"/>
                    <a:pt x="135" y="100"/>
                  </a:cubicBezTo>
                  <a:lnTo>
                    <a:pt x="126" y="100"/>
                  </a:lnTo>
                  <a:close/>
                  <a:moveTo>
                    <a:pt x="135" y="491"/>
                  </a:moveTo>
                  <a:lnTo>
                    <a:pt x="126" y="491"/>
                  </a:lnTo>
                  <a:cubicBezTo>
                    <a:pt x="57" y="491"/>
                    <a:pt x="0" y="434"/>
                    <a:pt x="0" y="365"/>
                  </a:cubicBezTo>
                  <a:lnTo>
                    <a:pt x="0" y="126"/>
                  </a:lnTo>
                  <a:cubicBezTo>
                    <a:pt x="0" y="56"/>
                    <a:pt x="57" y="0"/>
                    <a:pt x="126" y="0"/>
                  </a:cubicBezTo>
                  <a:lnTo>
                    <a:pt x="135" y="0"/>
                  </a:lnTo>
                  <a:cubicBezTo>
                    <a:pt x="205" y="0"/>
                    <a:pt x="261" y="56"/>
                    <a:pt x="261" y="126"/>
                  </a:cubicBezTo>
                  <a:lnTo>
                    <a:pt x="261" y="365"/>
                  </a:lnTo>
                  <a:cubicBezTo>
                    <a:pt x="261" y="434"/>
                    <a:pt x="205" y="491"/>
                    <a:pt x="135" y="4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011">
              <a:extLst>
                <a:ext uri="{FF2B5EF4-FFF2-40B4-BE49-F238E27FC236}">
                  <a16:creationId xmlns:a16="http://schemas.microsoft.com/office/drawing/2014/main" id="{2C462825-4A27-4F23-B37A-8DD2CE8539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9676" y="6386513"/>
              <a:ext cx="42863" cy="84138"/>
            </a:xfrm>
            <a:custGeom>
              <a:avLst/>
              <a:gdLst>
                <a:gd name="T0" fmla="*/ 127 w 261"/>
                <a:gd name="T1" fmla="*/ 100 h 491"/>
                <a:gd name="T2" fmla="*/ 100 w 261"/>
                <a:gd name="T3" fmla="*/ 126 h 491"/>
                <a:gd name="T4" fmla="*/ 100 w 261"/>
                <a:gd name="T5" fmla="*/ 365 h 491"/>
                <a:gd name="T6" fmla="*/ 127 w 261"/>
                <a:gd name="T7" fmla="*/ 391 h 491"/>
                <a:gd name="T8" fmla="*/ 135 w 261"/>
                <a:gd name="T9" fmla="*/ 391 h 491"/>
                <a:gd name="T10" fmla="*/ 161 w 261"/>
                <a:gd name="T11" fmla="*/ 365 h 491"/>
                <a:gd name="T12" fmla="*/ 161 w 261"/>
                <a:gd name="T13" fmla="*/ 126 h 491"/>
                <a:gd name="T14" fmla="*/ 135 w 261"/>
                <a:gd name="T15" fmla="*/ 100 h 491"/>
                <a:gd name="T16" fmla="*/ 127 w 261"/>
                <a:gd name="T17" fmla="*/ 100 h 491"/>
                <a:gd name="T18" fmla="*/ 135 w 261"/>
                <a:gd name="T19" fmla="*/ 491 h 491"/>
                <a:gd name="T20" fmla="*/ 127 w 261"/>
                <a:gd name="T21" fmla="*/ 491 h 491"/>
                <a:gd name="T22" fmla="*/ 0 w 261"/>
                <a:gd name="T23" fmla="*/ 365 h 491"/>
                <a:gd name="T24" fmla="*/ 0 w 261"/>
                <a:gd name="T25" fmla="*/ 126 h 491"/>
                <a:gd name="T26" fmla="*/ 127 w 261"/>
                <a:gd name="T27" fmla="*/ 0 h 491"/>
                <a:gd name="T28" fmla="*/ 135 w 261"/>
                <a:gd name="T29" fmla="*/ 0 h 491"/>
                <a:gd name="T30" fmla="*/ 261 w 261"/>
                <a:gd name="T31" fmla="*/ 126 h 491"/>
                <a:gd name="T32" fmla="*/ 261 w 261"/>
                <a:gd name="T33" fmla="*/ 365 h 491"/>
                <a:gd name="T34" fmla="*/ 135 w 261"/>
                <a:gd name="T35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1" h="491">
                  <a:moveTo>
                    <a:pt x="127" y="100"/>
                  </a:moveTo>
                  <a:cubicBezTo>
                    <a:pt x="112" y="100"/>
                    <a:pt x="100" y="111"/>
                    <a:pt x="100" y="126"/>
                  </a:cubicBezTo>
                  <a:lnTo>
                    <a:pt x="100" y="365"/>
                  </a:lnTo>
                  <a:cubicBezTo>
                    <a:pt x="100" y="379"/>
                    <a:pt x="112" y="391"/>
                    <a:pt x="127" y="391"/>
                  </a:cubicBezTo>
                  <a:lnTo>
                    <a:pt x="135" y="391"/>
                  </a:lnTo>
                  <a:cubicBezTo>
                    <a:pt x="150" y="391"/>
                    <a:pt x="161" y="379"/>
                    <a:pt x="161" y="365"/>
                  </a:cubicBezTo>
                  <a:lnTo>
                    <a:pt x="161" y="126"/>
                  </a:lnTo>
                  <a:cubicBezTo>
                    <a:pt x="161" y="111"/>
                    <a:pt x="150" y="100"/>
                    <a:pt x="135" y="100"/>
                  </a:cubicBezTo>
                  <a:lnTo>
                    <a:pt x="127" y="100"/>
                  </a:lnTo>
                  <a:close/>
                  <a:moveTo>
                    <a:pt x="135" y="491"/>
                  </a:moveTo>
                  <a:lnTo>
                    <a:pt x="127" y="491"/>
                  </a:lnTo>
                  <a:cubicBezTo>
                    <a:pt x="57" y="491"/>
                    <a:pt x="0" y="434"/>
                    <a:pt x="0" y="365"/>
                  </a:cubicBezTo>
                  <a:lnTo>
                    <a:pt x="0" y="126"/>
                  </a:lnTo>
                  <a:cubicBezTo>
                    <a:pt x="0" y="56"/>
                    <a:pt x="57" y="0"/>
                    <a:pt x="127" y="0"/>
                  </a:cubicBezTo>
                  <a:lnTo>
                    <a:pt x="135" y="0"/>
                  </a:lnTo>
                  <a:cubicBezTo>
                    <a:pt x="205" y="0"/>
                    <a:pt x="261" y="56"/>
                    <a:pt x="261" y="126"/>
                  </a:cubicBezTo>
                  <a:lnTo>
                    <a:pt x="261" y="365"/>
                  </a:lnTo>
                  <a:cubicBezTo>
                    <a:pt x="261" y="434"/>
                    <a:pt x="205" y="491"/>
                    <a:pt x="135" y="4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012">
              <a:extLst>
                <a:ext uri="{FF2B5EF4-FFF2-40B4-BE49-F238E27FC236}">
                  <a16:creationId xmlns:a16="http://schemas.microsoft.com/office/drawing/2014/main" id="{C1761A75-7D54-455F-A346-36714B35D6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9526" y="6386513"/>
              <a:ext cx="42863" cy="84138"/>
            </a:xfrm>
            <a:custGeom>
              <a:avLst/>
              <a:gdLst>
                <a:gd name="T0" fmla="*/ 126 w 261"/>
                <a:gd name="T1" fmla="*/ 100 h 491"/>
                <a:gd name="T2" fmla="*/ 100 w 261"/>
                <a:gd name="T3" fmla="*/ 126 h 491"/>
                <a:gd name="T4" fmla="*/ 100 w 261"/>
                <a:gd name="T5" fmla="*/ 365 h 491"/>
                <a:gd name="T6" fmla="*/ 126 w 261"/>
                <a:gd name="T7" fmla="*/ 391 h 491"/>
                <a:gd name="T8" fmla="*/ 135 w 261"/>
                <a:gd name="T9" fmla="*/ 391 h 491"/>
                <a:gd name="T10" fmla="*/ 161 w 261"/>
                <a:gd name="T11" fmla="*/ 365 h 491"/>
                <a:gd name="T12" fmla="*/ 161 w 261"/>
                <a:gd name="T13" fmla="*/ 126 h 491"/>
                <a:gd name="T14" fmla="*/ 135 w 261"/>
                <a:gd name="T15" fmla="*/ 100 h 491"/>
                <a:gd name="T16" fmla="*/ 126 w 261"/>
                <a:gd name="T17" fmla="*/ 100 h 491"/>
                <a:gd name="T18" fmla="*/ 135 w 261"/>
                <a:gd name="T19" fmla="*/ 491 h 491"/>
                <a:gd name="T20" fmla="*/ 126 w 261"/>
                <a:gd name="T21" fmla="*/ 491 h 491"/>
                <a:gd name="T22" fmla="*/ 0 w 261"/>
                <a:gd name="T23" fmla="*/ 365 h 491"/>
                <a:gd name="T24" fmla="*/ 0 w 261"/>
                <a:gd name="T25" fmla="*/ 126 h 491"/>
                <a:gd name="T26" fmla="*/ 126 w 261"/>
                <a:gd name="T27" fmla="*/ 0 h 491"/>
                <a:gd name="T28" fmla="*/ 135 w 261"/>
                <a:gd name="T29" fmla="*/ 0 h 491"/>
                <a:gd name="T30" fmla="*/ 261 w 261"/>
                <a:gd name="T31" fmla="*/ 126 h 491"/>
                <a:gd name="T32" fmla="*/ 261 w 261"/>
                <a:gd name="T33" fmla="*/ 365 h 491"/>
                <a:gd name="T34" fmla="*/ 135 w 261"/>
                <a:gd name="T35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1" h="491">
                  <a:moveTo>
                    <a:pt x="126" y="100"/>
                  </a:moveTo>
                  <a:cubicBezTo>
                    <a:pt x="112" y="100"/>
                    <a:pt x="100" y="111"/>
                    <a:pt x="100" y="126"/>
                  </a:cubicBezTo>
                  <a:lnTo>
                    <a:pt x="100" y="365"/>
                  </a:lnTo>
                  <a:cubicBezTo>
                    <a:pt x="100" y="379"/>
                    <a:pt x="112" y="391"/>
                    <a:pt x="126" y="391"/>
                  </a:cubicBezTo>
                  <a:lnTo>
                    <a:pt x="135" y="391"/>
                  </a:lnTo>
                  <a:cubicBezTo>
                    <a:pt x="149" y="391"/>
                    <a:pt x="161" y="379"/>
                    <a:pt x="161" y="365"/>
                  </a:cubicBezTo>
                  <a:lnTo>
                    <a:pt x="161" y="126"/>
                  </a:lnTo>
                  <a:cubicBezTo>
                    <a:pt x="161" y="111"/>
                    <a:pt x="149" y="100"/>
                    <a:pt x="135" y="100"/>
                  </a:cubicBezTo>
                  <a:lnTo>
                    <a:pt x="126" y="100"/>
                  </a:lnTo>
                  <a:close/>
                  <a:moveTo>
                    <a:pt x="135" y="491"/>
                  </a:moveTo>
                  <a:lnTo>
                    <a:pt x="126" y="491"/>
                  </a:lnTo>
                  <a:cubicBezTo>
                    <a:pt x="56" y="491"/>
                    <a:pt x="0" y="434"/>
                    <a:pt x="0" y="365"/>
                  </a:cubicBezTo>
                  <a:lnTo>
                    <a:pt x="0" y="126"/>
                  </a:lnTo>
                  <a:cubicBezTo>
                    <a:pt x="0" y="56"/>
                    <a:pt x="56" y="0"/>
                    <a:pt x="126" y="0"/>
                  </a:cubicBezTo>
                  <a:lnTo>
                    <a:pt x="135" y="0"/>
                  </a:lnTo>
                  <a:cubicBezTo>
                    <a:pt x="204" y="0"/>
                    <a:pt x="261" y="56"/>
                    <a:pt x="261" y="126"/>
                  </a:cubicBezTo>
                  <a:lnTo>
                    <a:pt x="261" y="365"/>
                  </a:lnTo>
                  <a:cubicBezTo>
                    <a:pt x="261" y="434"/>
                    <a:pt x="204" y="491"/>
                    <a:pt x="135" y="4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1013">
              <a:extLst>
                <a:ext uri="{FF2B5EF4-FFF2-40B4-BE49-F238E27FC236}">
                  <a16:creationId xmlns:a16="http://schemas.microsoft.com/office/drawing/2014/main" id="{83B4E6B4-AF63-47A6-85B5-F59648C7B2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0326" y="6575425"/>
              <a:ext cx="15875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1014">
              <a:extLst>
                <a:ext uri="{FF2B5EF4-FFF2-40B4-BE49-F238E27FC236}">
                  <a16:creationId xmlns:a16="http://schemas.microsoft.com/office/drawing/2014/main" id="{1C451B87-CD17-4AFD-B945-687268E05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1401" y="6492875"/>
              <a:ext cx="304800" cy="242888"/>
            </a:xfrm>
            <a:custGeom>
              <a:avLst/>
              <a:gdLst>
                <a:gd name="T0" fmla="*/ 192 w 192"/>
                <a:gd name="T1" fmla="*/ 153 h 153"/>
                <a:gd name="T2" fmla="*/ 0 w 192"/>
                <a:gd name="T3" fmla="*/ 153 h 153"/>
                <a:gd name="T4" fmla="*/ 0 w 192"/>
                <a:gd name="T5" fmla="*/ 0 h 153"/>
                <a:gd name="T6" fmla="*/ 192 w 192"/>
                <a:gd name="T7" fmla="*/ 0 h 153"/>
                <a:gd name="T8" fmla="*/ 192 w 192"/>
                <a:gd name="T9" fmla="*/ 45 h 153"/>
                <a:gd name="T10" fmla="*/ 182 w 192"/>
                <a:gd name="T11" fmla="*/ 45 h 153"/>
                <a:gd name="T12" fmla="*/ 182 w 192"/>
                <a:gd name="T13" fmla="*/ 10 h 153"/>
                <a:gd name="T14" fmla="*/ 11 w 192"/>
                <a:gd name="T15" fmla="*/ 10 h 153"/>
                <a:gd name="T16" fmla="*/ 11 w 192"/>
                <a:gd name="T17" fmla="*/ 142 h 153"/>
                <a:gd name="T18" fmla="*/ 182 w 192"/>
                <a:gd name="T19" fmla="*/ 142 h 153"/>
                <a:gd name="T20" fmla="*/ 182 w 192"/>
                <a:gd name="T21" fmla="*/ 100 h 153"/>
                <a:gd name="T22" fmla="*/ 192 w 192"/>
                <a:gd name="T23" fmla="*/ 100 h 153"/>
                <a:gd name="T24" fmla="*/ 192 w 192"/>
                <a:gd name="T25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2" h="153">
                  <a:moveTo>
                    <a:pt x="192" y="153"/>
                  </a:moveTo>
                  <a:lnTo>
                    <a:pt x="0" y="153"/>
                  </a:lnTo>
                  <a:lnTo>
                    <a:pt x="0" y="0"/>
                  </a:lnTo>
                  <a:lnTo>
                    <a:pt x="192" y="0"/>
                  </a:lnTo>
                  <a:lnTo>
                    <a:pt x="192" y="45"/>
                  </a:lnTo>
                  <a:lnTo>
                    <a:pt x="182" y="45"/>
                  </a:lnTo>
                  <a:lnTo>
                    <a:pt x="182" y="10"/>
                  </a:lnTo>
                  <a:lnTo>
                    <a:pt x="11" y="10"/>
                  </a:lnTo>
                  <a:lnTo>
                    <a:pt x="11" y="142"/>
                  </a:lnTo>
                  <a:lnTo>
                    <a:pt x="182" y="142"/>
                  </a:lnTo>
                  <a:lnTo>
                    <a:pt x="182" y="100"/>
                  </a:lnTo>
                  <a:lnTo>
                    <a:pt x="192" y="100"/>
                  </a:lnTo>
                  <a:lnTo>
                    <a:pt x="192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1015">
              <a:extLst>
                <a:ext uri="{FF2B5EF4-FFF2-40B4-BE49-F238E27FC236}">
                  <a16:creationId xmlns:a16="http://schemas.microsoft.com/office/drawing/2014/main" id="{D1C294A3-FF65-4644-81F2-DA066D2DB1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0326" y="6619875"/>
              <a:ext cx="1587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1016">
              <a:extLst>
                <a:ext uri="{FF2B5EF4-FFF2-40B4-BE49-F238E27FC236}">
                  <a16:creationId xmlns:a16="http://schemas.microsoft.com/office/drawing/2014/main" id="{F1222C56-90C5-4DE2-9D77-22517EA22A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51" y="6542088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Rectangle 1017">
              <a:extLst>
                <a:ext uri="{FF2B5EF4-FFF2-40B4-BE49-F238E27FC236}">
                  <a16:creationId xmlns:a16="http://schemas.microsoft.com/office/drawing/2014/main" id="{C35FD5F3-F8EE-465A-A945-A93C90F76A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1738" y="6542088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Rectangle 1018">
              <a:extLst>
                <a:ext uri="{FF2B5EF4-FFF2-40B4-BE49-F238E27FC236}">
                  <a16:creationId xmlns:a16="http://schemas.microsoft.com/office/drawing/2014/main" id="{2EAAAEA8-47BE-4732-AE60-373C609661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51" y="6586538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Rectangle 1019">
              <a:extLst>
                <a:ext uri="{FF2B5EF4-FFF2-40B4-BE49-F238E27FC236}">
                  <a16:creationId xmlns:a16="http://schemas.microsoft.com/office/drawing/2014/main" id="{F4343011-D03F-482D-96B5-7E8D38F154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1738" y="6586538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Rectangle 1020">
              <a:extLst>
                <a:ext uri="{FF2B5EF4-FFF2-40B4-BE49-F238E27FC236}">
                  <a16:creationId xmlns:a16="http://schemas.microsoft.com/office/drawing/2014/main" id="{86E48CFE-5350-465F-8F04-FF8FA3148D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3001" y="6586538"/>
              <a:ext cx="4445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Rectangle 1021">
              <a:extLst>
                <a:ext uri="{FF2B5EF4-FFF2-40B4-BE49-F238E27FC236}">
                  <a16:creationId xmlns:a16="http://schemas.microsoft.com/office/drawing/2014/main" id="{5AACF17F-549C-40A1-9739-AC0B504E5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1088" y="6586538"/>
              <a:ext cx="4762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1022">
              <a:extLst>
                <a:ext uri="{FF2B5EF4-FFF2-40B4-BE49-F238E27FC236}">
                  <a16:creationId xmlns:a16="http://schemas.microsoft.com/office/drawing/2014/main" id="{3612679B-313A-4FFB-AE07-49CE36C8E7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51" y="6632575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Rectangle 1023">
              <a:extLst>
                <a:ext uri="{FF2B5EF4-FFF2-40B4-BE49-F238E27FC236}">
                  <a16:creationId xmlns:a16="http://schemas.microsoft.com/office/drawing/2014/main" id="{17F665E1-C425-40B1-ACD9-7C2F9B7FC6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1738" y="6632575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Rectangle 1024">
              <a:extLst>
                <a:ext uri="{FF2B5EF4-FFF2-40B4-BE49-F238E27FC236}">
                  <a16:creationId xmlns:a16="http://schemas.microsoft.com/office/drawing/2014/main" id="{05A3C999-A323-40DB-9703-8B0138F8DE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3001" y="6632575"/>
              <a:ext cx="4445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Rectangle 1025">
              <a:extLst>
                <a:ext uri="{FF2B5EF4-FFF2-40B4-BE49-F238E27FC236}">
                  <a16:creationId xmlns:a16="http://schemas.microsoft.com/office/drawing/2014/main" id="{A6826759-6292-4B04-B572-9C9803BDCD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1088" y="6632575"/>
              <a:ext cx="4762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Rectangle 1026">
              <a:extLst>
                <a:ext uri="{FF2B5EF4-FFF2-40B4-BE49-F238E27FC236}">
                  <a16:creationId xmlns:a16="http://schemas.microsoft.com/office/drawing/2014/main" id="{64CAAD3E-A8B9-4696-9AA4-67CD0C8C85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51" y="6678613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Rectangle 1027">
              <a:extLst>
                <a:ext uri="{FF2B5EF4-FFF2-40B4-BE49-F238E27FC236}">
                  <a16:creationId xmlns:a16="http://schemas.microsoft.com/office/drawing/2014/main" id="{C88EB422-6AC7-48CC-BE75-BE62D0F367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1738" y="6678613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1028">
              <a:extLst>
                <a:ext uri="{FF2B5EF4-FFF2-40B4-BE49-F238E27FC236}">
                  <a16:creationId xmlns:a16="http://schemas.microsoft.com/office/drawing/2014/main" id="{525087FF-4B05-4C2C-B22D-E036D2D905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3001" y="6678613"/>
              <a:ext cx="4445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Rectangle 1029">
              <a:extLst>
                <a:ext uri="{FF2B5EF4-FFF2-40B4-BE49-F238E27FC236}">
                  <a16:creationId xmlns:a16="http://schemas.microsoft.com/office/drawing/2014/main" id="{33B34A8C-D356-473B-B1DF-E4B290F6BB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1088" y="6678613"/>
              <a:ext cx="4762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030">
              <a:extLst>
                <a:ext uri="{FF2B5EF4-FFF2-40B4-BE49-F238E27FC236}">
                  <a16:creationId xmlns:a16="http://schemas.microsoft.com/office/drawing/2014/main" id="{26A1F108-1A96-4C5F-B3AA-A99DA6990B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9188" y="6515100"/>
              <a:ext cx="71438" cy="63500"/>
            </a:xfrm>
            <a:custGeom>
              <a:avLst/>
              <a:gdLst>
                <a:gd name="T0" fmla="*/ 100 w 423"/>
                <a:gd name="T1" fmla="*/ 276 h 376"/>
                <a:gd name="T2" fmla="*/ 323 w 423"/>
                <a:gd name="T3" fmla="*/ 276 h 376"/>
                <a:gd name="T4" fmla="*/ 323 w 423"/>
                <a:gd name="T5" fmla="*/ 100 h 376"/>
                <a:gd name="T6" fmla="*/ 100 w 423"/>
                <a:gd name="T7" fmla="*/ 100 h 376"/>
                <a:gd name="T8" fmla="*/ 100 w 423"/>
                <a:gd name="T9" fmla="*/ 276 h 376"/>
                <a:gd name="T10" fmla="*/ 423 w 423"/>
                <a:gd name="T11" fmla="*/ 376 h 376"/>
                <a:gd name="T12" fmla="*/ 0 w 423"/>
                <a:gd name="T13" fmla="*/ 376 h 376"/>
                <a:gd name="T14" fmla="*/ 0 w 423"/>
                <a:gd name="T15" fmla="*/ 0 h 376"/>
                <a:gd name="T16" fmla="*/ 423 w 423"/>
                <a:gd name="T17" fmla="*/ 0 h 376"/>
                <a:gd name="T18" fmla="*/ 423 w 423"/>
                <a:gd name="T19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3" h="376">
                  <a:moveTo>
                    <a:pt x="100" y="276"/>
                  </a:moveTo>
                  <a:lnTo>
                    <a:pt x="323" y="276"/>
                  </a:lnTo>
                  <a:lnTo>
                    <a:pt x="323" y="100"/>
                  </a:lnTo>
                  <a:lnTo>
                    <a:pt x="100" y="100"/>
                  </a:lnTo>
                  <a:lnTo>
                    <a:pt x="100" y="276"/>
                  </a:lnTo>
                  <a:close/>
                  <a:moveTo>
                    <a:pt x="423" y="376"/>
                  </a:moveTo>
                  <a:lnTo>
                    <a:pt x="0" y="376"/>
                  </a:lnTo>
                  <a:lnTo>
                    <a:pt x="0" y="0"/>
                  </a:lnTo>
                  <a:lnTo>
                    <a:pt x="423" y="0"/>
                  </a:lnTo>
                  <a:lnTo>
                    <a:pt x="423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07810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ítulo 2">
            <a:extLst>
              <a:ext uri="{FF2B5EF4-FFF2-40B4-BE49-F238E27FC236}">
                <a16:creationId xmlns:a16="http://schemas.microsoft.com/office/drawing/2014/main" id="{4C628537-E1EB-41CF-93C5-1BCE5111151B}"/>
              </a:ext>
            </a:extLst>
          </p:cNvPr>
          <p:cNvSpPr txBox="1">
            <a:spLocks/>
          </p:cNvSpPr>
          <p:nvPr/>
        </p:nvSpPr>
        <p:spPr>
          <a:xfrm>
            <a:off x="5612966" y="1920240"/>
            <a:ext cx="6335194" cy="205027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663"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E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VOCATORIA DE AYUDAS ECONÓMICAS PARA LA SELECCIÓN DE OPERACIONES PARA LA REALIZACIÓN DE </a:t>
            </a:r>
            <a:r>
              <a:rPr kumimoji="0" lang="es-ES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CCIONES FORMATIVAS PARA EL EMPLEO </a:t>
            </a:r>
            <a:r>
              <a:rPr kumimoji="0" lang="es-E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ARA PERSONAS CON DISCAPACIDAD AÑO 2022-2023 </a:t>
            </a:r>
          </a:p>
        </p:txBody>
      </p:sp>
      <p:pic>
        <p:nvPicPr>
          <p:cNvPr id="12" name="Imagen 9" descr="Logo de Fundación ONCE&#10;&#10;Logo de Fundación ONCE">
            <a:extLst>
              <a:ext uri="{FF2B5EF4-FFF2-40B4-BE49-F238E27FC236}">
                <a16:creationId xmlns:a16="http://schemas.microsoft.com/office/drawing/2014/main" id="{2027D866-6DAF-4322-B79F-0AE7E572402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24F3CB-E366-4ECF-BA8F-37061B97B2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grpSp>
        <p:nvGrpSpPr>
          <p:cNvPr id="14" name="Class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38460BC-3761-4823-855A-61F875309A2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95497" y="5247579"/>
            <a:ext cx="1506509" cy="1199873"/>
            <a:chOff x="4173538" y="158750"/>
            <a:chExt cx="896938" cy="714375"/>
          </a:xfrm>
          <a:noFill/>
        </p:grpSpPr>
        <p:sp>
          <p:nvSpPr>
            <p:cNvPr id="15" name="Oval 45">
              <a:extLst>
                <a:ext uri="{FF2B5EF4-FFF2-40B4-BE49-F238E27FC236}">
                  <a16:creationId xmlns:a16="http://schemas.microsoft.com/office/drawing/2014/main" id="{2964E0A5-E274-43FD-9673-F482F827EB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8313" y="184150"/>
              <a:ext cx="300038" cy="300038"/>
            </a:xfrm>
            <a:prstGeom prst="ellipse">
              <a:avLst/>
            </a:prstGeom>
            <a:grpFill/>
            <a:ln w="19050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46">
              <a:extLst>
                <a:ext uri="{FF2B5EF4-FFF2-40B4-BE49-F238E27FC236}">
                  <a16:creationId xmlns:a16="http://schemas.microsoft.com/office/drawing/2014/main" id="{C91AC3D7-AF23-4C6C-B6AA-DE308F1C1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3538" y="322262"/>
              <a:ext cx="838200" cy="550863"/>
            </a:xfrm>
            <a:custGeom>
              <a:avLst/>
              <a:gdLst>
                <a:gd name="T0" fmla="*/ 145 w 1100"/>
                <a:gd name="T1" fmla="*/ 536 h 723"/>
                <a:gd name="T2" fmla="*/ 184 w 1100"/>
                <a:gd name="T3" fmla="*/ 536 h 723"/>
                <a:gd name="T4" fmla="*/ 194 w 1100"/>
                <a:gd name="T5" fmla="*/ 723 h 723"/>
                <a:gd name="T6" fmla="*/ 583 w 1100"/>
                <a:gd name="T7" fmla="*/ 723 h 723"/>
                <a:gd name="T8" fmla="*/ 583 w 1100"/>
                <a:gd name="T9" fmla="*/ 494 h 723"/>
                <a:gd name="T10" fmla="*/ 1046 w 1100"/>
                <a:gd name="T11" fmla="*/ 263 h 723"/>
                <a:gd name="T12" fmla="*/ 1061 w 1100"/>
                <a:gd name="T13" fmla="*/ 120 h 723"/>
                <a:gd name="T14" fmla="*/ 1085 w 1100"/>
                <a:gd name="T15" fmla="*/ 57 h 723"/>
                <a:gd name="T16" fmla="*/ 1063 w 1100"/>
                <a:gd name="T17" fmla="*/ 8 h 723"/>
                <a:gd name="T18" fmla="*/ 1015 w 1100"/>
                <a:gd name="T19" fmla="*/ 30 h 723"/>
                <a:gd name="T20" fmla="*/ 992 w 1100"/>
                <a:gd name="T21" fmla="*/ 88 h 723"/>
                <a:gd name="T22" fmla="*/ 954 w 1100"/>
                <a:gd name="T23" fmla="*/ 97 h 723"/>
                <a:gd name="T24" fmla="*/ 315 w 1100"/>
                <a:gd name="T25" fmla="*/ 268 h 723"/>
                <a:gd name="T26" fmla="*/ 0 w 1100"/>
                <a:gd name="T27" fmla="*/ 538 h 723"/>
                <a:gd name="T28" fmla="*/ 0 w 1100"/>
                <a:gd name="T29" fmla="*/ 723 h 723"/>
                <a:gd name="T30" fmla="*/ 145 w 1100"/>
                <a:gd name="T31" fmla="*/ 723 h 723"/>
                <a:gd name="T32" fmla="*/ 145 w 1100"/>
                <a:gd name="T33" fmla="*/ 536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0" h="723">
                  <a:moveTo>
                    <a:pt x="145" y="536"/>
                  </a:moveTo>
                  <a:lnTo>
                    <a:pt x="184" y="536"/>
                  </a:lnTo>
                  <a:lnTo>
                    <a:pt x="194" y="723"/>
                  </a:lnTo>
                  <a:lnTo>
                    <a:pt x="583" y="723"/>
                  </a:lnTo>
                  <a:lnTo>
                    <a:pt x="583" y="494"/>
                  </a:lnTo>
                  <a:cubicBezTo>
                    <a:pt x="772" y="432"/>
                    <a:pt x="939" y="344"/>
                    <a:pt x="1046" y="263"/>
                  </a:cubicBezTo>
                  <a:cubicBezTo>
                    <a:pt x="1091" y="229"/>
                    <a:pt x="1100" y="166"/>
                    <a:pt x="1061" y="120"/>
                  </a:cubicBezTo>
                  <a:lnTo>
                    <a:pt x="1085" y="57"/>
                  </a:lnTo>
                  <a:cubicBezTo>
                    <a:pt x="1093" y="37"/>
                    <a:pt x="1083" y="15"/>
                    <a:pt x="1063" y="8"/>
                  </a:cubicBezTo>
                  <a:cubicBezTo>
                    <a:pt x="1044" y="0"/>
                    <a:pt x="1022" y="10"/>
                    <a:pt x="1015" y="30"/>
                  </a:cubicBezTo>
                  <a:lnTo>
                    <a:pt x="992" y="88"/>
                  </a:lnTo>
                  <a:cubicBezTo>
                    <a:pt x="980" y="89"/>
                    <a:pt x="966" y="90"/>
                    <a:pt x="954" y="97"/>
                  </a:cubicBezTo>
                  <a:cubicBezTo>
                    <a:pt x="624" y="282"/>
                    <a:pt x="513" y="268"/>
                    <a:pt x="315" y="268"/>
                  </a:cubicBezTo>
                  <a:cubicBezTo>
                    <a:pt x="132" y="268"/>
                    <a:pt x="0" y="339"/>
                    <a:pt x="0" y="538"/>
                  </a:cubicBezTo>
                  <a:lnTo>
                    <a:pt x="0" y="723"/>
                  </a:lnTo>
                  <a:lnTo>
                    <a:pt x="145" y="723"/>
                  </a:lnTo>
                  <a:lnTo>
                    <a:pt x="145" y="536"/>
                  </a:lnTo>
                  <a:close/>
                </a:path>
              </a:pathLst>
            </a:custGeom>
            <a:grpFill/>
            <a:ln w="19050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47">
              <a:extLst>
                <a:ext uri="{FF2B5EF4-FFF2-40B4-BE49-F238E27FC236}">
                  <a16:creationId xmlns:a16="http://schemas.microsoft.com/office/drawing/2014/main" id="{DA78880E-7AEC-433A-97C2-A1D5FBAB7A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8838" y="158750"/>
              <a:ext cx="401638" cy="41275"/>
            </a:xfrm>
            <a:prstGeom prst="rect">
              <a:avLst/>
            </a:prstGeom>
            <a:grpFill/>
            <a:ln w="19050">
              <a:solidFill>
                <a:schemeClr val="l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48">
              <a:extLst>
                <a:ext uri="{FF2B5EF4-FFF2-40B4-BE49-F238E27FC236}">
                  <a16:creationId xmlns:a16="http://schemas.microsoft.com/office/drawing/2014/main" id="{CA6FDF11-0060-42FC-87E1-8D9FE31F02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8838" y="266700"/>
              <a:ext cx="238125" cy="41275"/>
            </a:xfrm>
            <a:prstGeom prst="rect">
              <a:avLst/>
            </a:prstGeom>
            <a:grpFill/>
            <a:ln w="19050">
              <a:solidFill>
                <a:schemeClr val="l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66850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DB8343-0D9A-4953-8BCA-E1251E1AA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cs typeface="Arial" panose="020B0604020202020204" pitchFamily="34" charset="0"/>
              </a:rPr>
              <a:t>Convocatoria acciones formativa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BAF315E-B69D-49B0-893C-60A5FE214372}"/>
              </a:ext>
            </a:extLst>
          </p:cNvPr>
          <p:cNvGrpSpPr/>
          <p:nvPr/>
        </p:nvGrpSpPr>
        <p:grpSpPr>
          <a:xfrm>
            <a:off x="838200" y="4695208"/>
            <a:ext cx="10515601" cy="1229449"/>
            <a:chOff x="638714" y="4855465"/>
            <a:chExt cx="10515601" cy="149074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31B83AA-06E7-4AE8-A532-7CE5C8770A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425" y="4855465"/>
              <a:ext cx="9775890" cy="14907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Ins="576000" rtlCol="0" anchor="ctr">
              <a:noAutofit/>
            </a:bodyPr>
            <a:lstStyle/>
            <a:p>
              <a:pPr marL="447675" marR="0" lvl="0" defTabSz="91440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jorar la </a:t>
              </a:r>
              <a:r>
                <a:rPr lang="es-ES" sz="2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ción sociolaboral </a:t>
              </a: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 las </a:t>
              </a:r>
              <a:r>
                <a:rPr lang="es-ES" sz="24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cD</a:t>
              </a: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 través del acceso a </a:t>
              </a:r>
              <a:r>
                <a:rPr lang="es-ES" sz="2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mación</a:t>
              </a: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calidad.</a:t>
              </a:r>
            </a:p>
          </p:txBody>
        </p:sp>
        <p:sp>
          <p:nvSpPr>
            <p:cNvPr id="6" name="Pentagon 33">
              <a:extLst>
                <a:ext uri="{FF2B5EF4-FFF2-40B4-BE49-F238E27FC236}">
                  <a16:creationId xmlns:a16="http://schemas.microsoft.com/office/drawing/2014/main" id="{7CD8D8F3-3801-49D7-A8F4-CB2C9C49F9F7}"/>
                </a:ext>
              </a:extLst>
            </p:cNvPr>
            <p:cNvSpPr/>
            <p:nvPr/>
          </p:nvSpPr>
          <p:spPr bwMode="auto">
            <a:xfrm>
              <a:off x="638714" y="4864959"/>
              <a:ext cx="1046053" cy="1481247"/>
            </a:xfrm>
            <a:prstGeom prst="homePlate">
              <a:avLst>
                <a:gd name="adj" fmla="val 2732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¿Para qué?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1054E0F-2C10-491E-AEC4-4B21A6B5F964}"/>
              </a:ext>
            </a:extLst>
          </p:cNvPr>
          <p:cNvGrpSpPr/>
          <p:nvPr/>
        </p:nvGrpSpPr>
        <p:grpSpPr>
          <a:xfrm>
            <a:off x="838200" y="3304461"/>
            <a:ext cx="10515601" cy="1231721"/>
            <a:chOff x="638714" y="3080502"/>
            <a:chExt cx="10515601" cy="149349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3A7F254-3ECA-4D2B-99ED-11AD8ECAC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425" y="3083257"/>
              <a:ext cx="9775890" cy="14907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Ins="576000" rtlCol="0" anchor="ctr">
              <a:noAutofit/>
            </a:bodyPr>
            <a:lstStyle/>
            <a:p>
              <a:pPr marL="457200" lvl="1" indent="0" algn="just">
                <a:buNone/>
              </a:pP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 través del desarrollo de </a:t>
              </a:r>
              <a:r>
                <a:rPr lang="es-ES" sz="2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tuaciones de formación en competencias, formación específica y formación en puesto de trabajo</a:t>
              </a: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lang="es-E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Pentagon 19">
              <a:extLst>
                <a:ext uri="{FF2B5EF4-FFF2-40B4-BE49-F238E27FC236}">
                  <a16:creationId xmlns:a16="http://schemas.microsoft.com/office/drawing/2014/main" id="{09C7B543-C6A1-40DF-9999-CF0B412A4E88}"/>
                </a:ext>
              </a:extLst>
            </p:cNvPr>
            <p:cNvSpPr/>
            <p:nvPr/>
          </p:nvSpPr>
          <p:spPr bwMode="auto">
            <a:xfrm>
              <a:off x="638714" y="3080502"/>
              <a:ext cx="1088601" cy="1493498"/>
            </a:xfrm>
            <a:prstGeom prst="homePlate">
              <a:avLst>
                <a:gd name="adj" fmla="val 27321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¿Cómo?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4D9981CA-DFA4-4AC8-80F0-A6145BC396F4}"/>
              </a:ext>
            </a:extLst>
          </p:cNvPr>
          <p:cNvGrpSpPr/>
          <p:nvPr/>
        </p:nvGrpSpPr>
        <p:grpSpPr>
          <a:xfrm>
            <a:off x="838202" y="1911359"/>
            <a:ext cx="10395855" cy="1243288"/>
            <a:chOff x="638714" y="1308295"/>
            <a:chExt cx="10395855" cy="150474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8F6DD7E-28AC-4934-9AE4-0E1ABC25AF46}"/>
                </a:ext>
              </a:extLst>
            </p:cNvPr>
            <p:cNvSpPr/>
            <p:nvPr/>
          </p:nvSpPr>
          <p:spPr bwMode="auto">
            <a:xfrm>
              <a:off x="1378424" y="1308295"/>
              <a:ext cx="9656145" cy="14907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tIns="0" rIns="0" bIns="0" rtlCol="0" anchor="ctr"/>
            <a:lstStyle/>
            <a:p>
              <a:pPr marL="457200" lvl="1" indent="0" algn="just">
                <a:buNone/>
              </a:pP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recer </a:t>
              </a:r>
              <a:r>
                <a:rPr lang="es-ES" sz="2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tuaciones</a:t>
              </a: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que permitan la formación de las </a:t>
              </a:r>
              <a:r>
                <a:rPr lang="es-ES" sz="24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cD</a:t>
              </a: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ara acceder al empleo.</a:t>
              </a:r>
              <a:endParaRPr lang="es-E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Pentagon 26">
              <a:extLst>
                <a:ext uri="{FF2B5EF4-FFF2-40B4-BE49-F238E27FC236}">
                  <a16:creationId xmlns:a16="http://schemas.microsoft.com/office/drawing/2014/main" id="{8A41FA1A-129D-4757-BCF9-449AE077E1F7}"/>
                </a:ext>
              </a:extLst>
            </p:cNvPr>
            <p:cNvSpPr/>
            <p:nvPr/>
          </p:nvSpPr>
          <p:spPr bwMode="auto">
            <a:xfrm>
              <a:off x="638714" y="1308295"/>
              <a:ext cx="1075482" cy="1504743"/>
            </a:xfrm>
            <a:prstGeom prst="homePlate">
              <a:avLst>
                <a:gd name="adj" fmla="val 27321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¿Qué?</a:t>
              </a: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24A3D4-91A9-4728-AD22-904DF943B5C4}"/>
              </a:ext>
            </a:extLst>
          </p:cNvPr>
          <p:cNvCxnSpPr>
            <a:cxnSpLocks/>
          </p:cNvCxnSpPr>
          <p:nvPr/>
        </p:nvCxnSpPr>
        <p:spPr>
          <a:xfrm flipV="1">
            <a:off x="838202" y="3226401"/>
            <a:ext cx="10404000" cy="3957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6F9308F-07C0-4742-B689-C789A9ED4B9A}"/>
              </a:ext>
            </a:extLst>
          </p:cNvPr>
          <p:cNvCxnSpPr>
            <a:cxnSpLocks/>
          </p:cNvCxnSpPr>
          <p:nvPr/>
        </p:nvCxnSpPr>
        <p:spPr>
          <a:xfrm flipV="1">
            <a:off x="838202" y="4610285"/>
            <a:ext cx="10368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13AC434C-CDDA-4F03-9273-9A2A9D9D1F80}"/>
              </a:ext>
            </a:extLst>
          </p:cNvPr>
          <p:cNvSpPr/>
          <p:nvPr/>
        </p:nvSpPr>
        <p:spPr>
          <a:xfrm>
            <a:off x="0" y="6568751"/>
            <a:ext cx="1390261" cy="2892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5" name="Imagen 9" descr="Logo de Fundación ONCE&#10;&#10;Logo de Fundación ONCE">
            <a:extLst>
              <a:ext uri="{FF2B5EF4-FFF2-40B4-BE49-F238E27FC236}">
                <a16:creationId xmlns:a16="http://schemas.microsoft.com/office/drawing/2014/main" id="{2D3C2687-0950-4D6F-9198-E96F98FF8A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BC3CB67F-795A-49BA-8CCD-AB2C1F7285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9504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9806C6F-4189-4D30-92F8-74DA9044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76" y="675107"/>
            <a:ext cx="10515600" cy="758277"/>
          </a:xfrm>
        </p:spPr>
        <p:txBody>
          <a:bodyPr>
            <a:normAutofit fontScale="90000"/>
          </a:bodyPr>
          <a:lstStyle/>
          <a:p>
            <a:r>
              <a:rPr lang="es-ES" sz="5400" dirty="0"/>
              <a:t>Dotación financiera</a:t>
            </a:r>
          </a:p>
        </p:txBody>
      </p:sp>
      <p:sp>
        <p:nvSpPr>
          <p:cNvPr id="10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n 9" descr="Logo de Fundación ONCE&#10;&#10;Logo de Fundación ONCE">
            <a:extLst>
              <a:ext uri="{FF2B5EF4-FFF2-40B4-BE49-F238E27FC236}">
                <a16:creationId xmlns:a16="http://schemas.microsoft.com/office/drawing/2014/main" id="{3256AD08-B940-4E1E-83EE-EC0A64AC1D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8006D8-2CC2-4E6F-A645-7C7859D9B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sp>
        <p:nvSpPr>
          <p:cNvPr id="12" name="Marcador de contenido 2">
            <a:extLst>
              <a:ext uri="{FF2B5EF4-FFF2-40B4-BE49-F238E27FC236}">
                <a16:creationId xmlns:a16="http://schemas.microsoft.com/office/drawing/2014/main" id="{A852E57C-53BD-45D1-AE38-463BD328DE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6676" y="1833491"/>
            <a:ext cx="11140440" cy="4749509"/>
          </a:xfrm>
        </p:spPr>
        <p:txBody>
          <a:bodyPr>
            <a:normAutofit/>
          </a:bodyPr>
          <a:lstStyle/>
          <a:p>
            <a:pPr marL="41910" marR="387985" indent="0" algn="ctr">
              <a:lnSpc>
                <a:spcPct val="110000"/>
              </a:lnSpc>
              <a:spcAft>
                <a:spcPts val="0"/>
              </a:spcAft>
              <a:buNone/>
            </a:pPr>
            <a:r>
              <a:rPr lang="es-ES" sz="35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750.000 euros</a:t>
            </a:r>
            <a:endParaRPr lang="es-ES" sz="3500" dirty="0">
              <a:solidFill>
                <a:srgbClr val="0070C0"/>
              </a:solidFill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R="387985" algn="just">
              <a:lnSpc>
                <a:spcPct val="110000"/>
              </a:lnSpc>
              <a:buClr>
                <a:srgbClr val="C00000"/>
              </a:buClr>
              <a:buFont typeface="Wingdings" panose="05000000000000000000" pitchFamily="2" charset="2"/>
              <a:buChar char="è"/>
            </a:pPr>
            <a:r>
              <a:rPr lang="es-ES" sz="2000" b="1" u="sng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Regiones + desarrolladas (D1)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74.175 €</a:t>
            </a:r>
            <a:r>
              <a:rPr lang="es-ES" sz="20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cofinanciación FSE 50% . </a:t>
            </a:r>
          </a:p>
          <a:p>
            <a:pPr marL="0" marR="387985" lvl="0" indent="0" algn="just">
              <a:lnSpc>
                <a:spcPct val="110000"/>
              </a:lnSpc>
              <a:spcAft>
                <a:spcPts val="0"/>
              </a:spcAft>
              <a:buNone/>
            </a:pP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Aragón, Baleares, Cantabria, Castilla y León, Cataluña, Comunidad Valenciana, La Rioja, Madrid, Navarra y País Vasco.</a:t>
            </a:r>
          </a:p>
          <a:p>
            <a:pPr marR="387985" algn="just">
              <a:buClr>
                <a:srgbClr val="C00000"/>
              </a:buClr>
              <a:buFont typeface="Wingdings" panose="05000000000000000000" pitchFamily="2" charset="2"/>
              <a:buChar char="è"/>
            </a:pPr>
            <a:r>
              <a:rPr lang="es-ES" sz="2000" b="1" u="sng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Regiones + desarrolladas (D2)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112.187 €</a:t>
            </a:r>
            <a:r>
              <a:rPr lang="es-ES" sz="20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cofinanciación FSE 80%. </a:t>
            </a:r>
          </a:p>
          <a:p>
            <a:pPr marL="0" marR="387985" indent="0" algn="just">
              <a:buClr>
                <a:srgbClr val="C00000"/>
              </a:buClr>
              <a:buNone/>
            </a:pP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Asturias, Ceuta y Galicia.</a:t>
            </a:r>
          </a:p>
          <a:p>
            <a:pPr marR="387985" algn="just">
              <a:buClr>
                <a:srgbClr val="C00000"/>
              </a:buClr>
              <a:buFont typeface="Wingdings" panose="05000000000000000000" pitchFamily="2" charset="2"/>
              <a:buChar char="è"/>
            </a:pPr>
            <a:r>
              <a:rPr lang="es-ES" sz="2000" b="1" u="sng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Regiones en Transición (T)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464.550 €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cofinanciación FSE 80%. </a:t>
            </a:r>
          </a:p>
          <a:p>
            <a:pPr marL="0" marR="387985" indent="0" algn="just">
              <a:buClr>
                <a:srgbClr val="C00000"/>
              </a:buClr>
              <a:buNone/>
            </a:pP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Andalucía, Canarias, Castilla La Mancha, Melilla y Región de Murcia</a:t>
            </a:r>
          </a:p>
          <a:p>
            <a:pPr marR="387985" algn="just">
              <a:lnSpc>
                <a:spcPct val="110000"/>
              </a:lnSpc>
              <a:buClr>
                <a:srgbClr val="C00000"/>
              </a:buClr>
              <a:buFont typeface="Wingdings" panose="05000000000000000000" pitchFamily="2" charset="2"/>
              <a:buChar char="è"/>
            </a:pPr>
            <a:r>
              <a:rPr lang="es-ES" sz="2000" b="1" u="sng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Regiones - desarrolladas (-D)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99.087 €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cofinanciación FSE del 80%. </a:t>
            </a:r>
          </a:p>
          <a:p>
            <a:pPr marL="0" marR="387985" indent="0" algn="just">
              <a:lnSpc>
                <a:spcPct val="110000"/>
              </a:lnSpc>
              <a:buNone/>
            </a:pP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Extremadura</a:t>
            </a:r>
            <a:endParaRPr lang="es-ES" sz="2000" dirty="0"/>
          </a:p>
          <a:p>
            <a:pPr lvl="1">
              <a:buFontTx/>
              <a:buChar char="-"/>
            </a:pPr>
            <a:endParaRPr lang="es-ES" sz="2200" dirty="0"/>
          </a:p>
        </p:txBody>
      </p:sp>
    </p:spTree>
    <p:extLst>
      <p:ext uri="{BB962C8B-B14F-4D97-AF65-F5344CB8AC3E}">
        <p14:creationId xmlns:p14="http://schemas.microsoft.com/office/powerpoint/2010/main" val="6560788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52CBB6A-2836-4D3B-B5DC-1C175492FA8A}"/>
              </a:ext>
            </a:extLst>
          </p:cNvPr>
          <p:cNvSpPr/>
          <p:nvPr/>
        </p:nvSpPr>
        <p:spPr>
          <a:xfrm>
            <a:off x="0" y="6568751"/>
            <a:ext cx="1390261" cy="2892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Marcador de contenido 2">
            <a:extLst>
              <a:ext uri="{FF2B5EF4-FFF2-40B4-BE49-F238E27FC236}">
                <a16:creationId xmlns:a16="http://schemas.microsoft.com/office/drawing/2014/main" id="{B58FD87F-387F-47AF-A193-50B7460429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637" y="1147108"/>
            <a:ext cx="11527843" cy="5647356"/>
          </a:xfrm>
        </p:spPr>
        <p:txBody>
          <a:bodyPr anchor="ctr">
            <a:normAutofit/>
          </a:bodyPr>
          <a:lstStyle/>
          <a:p>
            <a:pPr lvl="1" algn="just"/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Fundación ONCE comenzó en 2016 la convocatoria general de ayudas económicas para el empleo en el marco del POISES (</a:t>
            </a:r>
            <a:r>
              <a:rPr lang="es-E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ocatorias Movimiento Asociativo</a:t>
            </a: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lvl="1" algn="just"/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Fundación ONCE decidió llevar a cabo un estudio para elaborar un “</a:t>
            </a:r>
            <a:r>
              <a:rPr lang="es-E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emo estándar de costes unitarios</a:t>
            </a: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”, para centrar en mayor medida los recursos humanos y el </a:t>
            </a:r>
            <a:r>
              <a:rPr lang="es-E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fuerzo administrativo </a:t>
            </a: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que conlleva la gestión de los Fondos EIE en el logro de los </a:t>
            </a:r>
            <a:r>
              <a:rPr lang="es-E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tivos sociales </a:t>
            </a: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en vez de en la recopilación y la verificación de documentos financieros, gracias a la </a:t>
            </a:r>
            <a:r>
              <a:rPr lang="es-E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plificación</a:t>
            </a: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 del proceso de gestión. </a:t>
            </a:r>
          </a:p>
          <a:p>
            <a:pPr lvl="1" algn="just"/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Con este objetivo se llevó a cabo la </a:t>
            </a:r>
            <a:r>
              <a:rPr lang="es-E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aboración de una matriz de costes unitarios </a:t>
            </a: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basada en </a:t>
            </a:r>
            <a:r>
              <a:rPr lang="es-E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s históricos </a:t>
            </a: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de las convocatorias de 2016, 2017 y 2018. A partir de estos datos se estableció una matriz con un coste unitario por </a:t>
            </a:r>
            <a:r>
              <a:rPr lang="es-E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, programa, participante y tipología</a:t>
            </a: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ED275BA-1173-46D2-81E3-73E6A9090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s-ES" dirty="0">
                <a:cs typeface="Arial" panose="020B0604020202020204" pitchFamily="34" charset="0"/>
              </a:rPr>
              <a:t>Antecedentes</a:t>
            </a:r>
          </a:p>
        </p:txBody>
      </p:sp>
      <p:pic>
        <p:nvPicPr>
          <p:cNvPr id="8" name="Imagen 9" descr="Logo de Fundación ONCE&#10;&#10;Logo de Fundación ONCE">
            <a:extLst>
              <a:ext uri="{FF2B5EF4-FFF2-40B4-BE49-F238E27FC236}">
                <a16:creationId xmlns:a16="http://schemas.microsoft.com/office/drawing/2014/main" id="{AEDFE40F-C5DF-45DE-8AE5-482FA22A6DE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8B3B0D5-031A-4B3E-AB12-79F0D4A382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2066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9806C6F-4189-4D30-92F8-74DA9044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76" y="675107"/>
            <a:ext cx="10515600" cy="758277"/>
          </a:xfrm>
        </p:spPr>
        <p:txBody>
          <a:bodyPr>
            <a:normAutofit fontScale="90000"/>
          </a:bodyPr>
          <a:lstStyle/>
          <a:p>
            <a:r>
              <a:rPr lang="es-ES" sz="5400" dirty="0"/>
              <a:t>Entidades que pueden presentarse</a:t>
            </a:r>
          </a:p>
        </p:txBody>
      </p:sp>
      <p:sp>
        <p:nvSpPr>
          <p:cNvPr id="10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n 9" descr="Logo de Fundación ONCE&#10;&#10;Logo de Fundación ONCE">
            <a:extLst>
              <a:ext uri="{FF2B5EF4-FFF2-40B4-BE49-F238E27FC236}">
                <a16:creationId xmlns:a16="http://schemas.microsoft.com/office/drawing/2014/main" id="{3256AD08-B940-4E1E-83EE-EC0A64AC1D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8006D8-2CC2-4E6F-A645-7C7859D9B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sp>
        <p:nvSpPr>
          <p:cNvPr id="12" name="Marcador de contenido 2">
            <a:extLst>
              <a:ext uri="{FF2B5EF4-FFF2-40B4-BE49-F238E27FC236}">
                <a16:creationId xmlns:a16="http://schemas.microsoft.com/office/drawing/2014/main" id="{C05C9E4F-C2D4-468B-AD5E-298979F697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9035" y="1854371"/>
            <a:ext cx="10853928" cy="3942809"/>
          </a:xfrm>
        </p:spPr>
        <p:txBody>
          <a:bodyPr anchor="ctr">
            <a:noAutofit/>
          </a:bodyPr>
          <a:lstStyle/>
          <a:p>
            <a:pPr marL="564515" marR="387985" indent="-342900" algn="just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Las asociaciones, fundaciones, federaciones y confederaciones, y congregaciones religiosas, cuyo fin estatutario o cuya definición del </a:t>
            </a:r>
            <a:r>
              <a:rPr lang="es-ES" sz="20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objeto fundacional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esté prioritariamente dirigido a discapacidad</a:t>
            </a:r>
          </a:p>
          <a:p>
            <a:pPr marL="564515" marR="387985" indent="-342900" algn="just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sz="20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Sin fin de lucro</a:t>
            </a:r>
            <a:endParaRPr lang="es-ES" sz="20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564515" marR="387985" indent="-342900" algn="just">
              <a:lnSpc>
                <a:spcPct val="103000"/>
              </a:lnSpc>
              <a:spcBef>
                <a:spcPts val="670"/>
              </a:spcBef>
              <a:spcAft>
                <a:spcPts val="0"/>
              </a:spcAft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Ámbito</a:t>
            </a:r>
            <a:r>
              <a:rPr lang="es-ES" sz="2000" spc="-45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de</a:t>
            </a:r>
            <a:r>
              <a:rPr lang="es-ES" sz="2000" spc="-3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actuación </a:t>
            </a:r>
            <a:r>
              <a:rPr lang="es-ES" sz="20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estatal, autonómico o local</a:t>
            </a:r>
            <a:endParaRPr lang="es-ES" sz="20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564515" marR="387985" indent="-342900" algn="just">
              <a:lnSpc>
                <a:spcPct val="105000"/>
              </a:lnSpc>
              <a:spcBef>
                <a:spcPts val="620"/>
              </a:spcBef>
              <a:spcAft>
                <a:spcPts val="0"/>
              </a:spcAft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sz="20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Legalmente</a:t>
            </a:r>
            <a:r>
              <a:rPr lang="es-ES" sz="2000" b="1" spc="-7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constituidas</a:t>
            </a:r>
            <a:r>
              <a:rPr lang="es-ES" sz="2000" b="1" spc="-55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spc="-55" dirty="0">
                <a:latin typeface="Arial" panose="020B0604020202020204" pitchFamily="34" charset="0"/>
                <a:ea typeface="Arial" panose="020B0604020202020204" pitchFamily="34" charset="0"/>
              </a:rPr>
              <a:t>e</a:t>
            </a:r>
            <a:r>
              <a:rPr lang="es-ES" sz="2000" spc="-6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inscritas</a:t>
            </a:r>
            <a:r>
              <a:rPr lang="es-ES" sz="2000" spc="-7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en</a:t>
            </a:r>
            <a:r>
              <a:rPr lang="es-ES" sz="2000" spc="-45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registro administrativo.</a:t>
            </a:r>
          </a:p>
          <a:p>
            <a:pPr marL="564515" marR="387985" indent="-342900" algn="just">
              <a:lnSpc>
                <a:spcPct val="105000"/>
              </a:lnSpc>
              <a:spcBef>
                <a:spcPts val="595"/>
              </a:spcBef>
              <a:spcAft>
                <a:spcPts val="0"/>
              </a:spcAft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sz="2000" b="1" dirty="0">
                <a:latin typeface="Arial" panose="020B0604020202020204" pitchFamily="34" charset="0"/>
                <a:ea typeface="Arial" panose="020B0604020202020204" pitchFamily="34" charset="0"/>
              </a:rPr>
              <a:t>NO</a:t>
            </a:r>
            <a:r>
              <a:rPr lang="es-ES" sz="2000" dirty="0">
                <a:latin typeface="Arial" panose="020B0604020202020204" pitchFamily="34" charset="0"/>
                <a:ea typeface="Arial" panose="020B0604020202020204" pitchFamily="34" charset="0"/>
              </a:rPr>
              <a:t> si concurre</a:t>
            </a:r>
            <a:r>
              <a:rPr lang="es-ES" sz="2000" spc="-6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alguna</a:t>
            </a:r>
            <a:r>
              <a:rPr lang="es-ES" sz="2000" spc="-35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circunstancias</a:t>
            </a:r>
            <a:r>
              <a:rPr lang="es-ES" sz="2000" spc="-45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del </a:t>
            </a:r>
            <a:r>
              <a:rPr lang="es-ES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artículo</a:t>
            </a:r>
            <a:r>
              <a:rPr lang="es-ES" sz="2000" b="1" spc="-4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13</a:t>
            </a:r>
            <a:r>
              <a:rPr lang="es-ES" sz="2000" b="1" spc="-4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los</a:t>
            </a:r>
            <a:r>
              <a:rPr lang="es-ES" sz="2000" spc="-45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apartados</a:t>
            </a:r>
            <a:r>
              <a:rPr lang="es-ES" sz="2000" spc="-45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2</a:t>
            </a:r>
            <a:r>
              <a:rPr lang="es-ES" sz="2000" spc="-4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y</a:t>
            </a:r>
            <a:r>
              <a:rPr lang="es-ES" sz="2000" spc="-55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3</a:t>
            </a:r>
            <a:r>
              <a:rPr lang="es-ES" sz="2000" spc="-4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de</a:t>
            </a:r>
            <a:r>
              <a:rPr lang="es-ES" sz="2000" spc="-4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la</a:t>
            </a:r>
            <a:r>
              <a:rPr lang="es-ES" sz="2000" spc="-4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Ley</a:t>
            </a:r>
            <a:r>
              <a:rPr lang="es-ES" sz="2000" spc="-6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38/2003 de Subvenciones.</a:t>
            </a:r>
            <a:endParaRPr lang="es-ES" sz="2000" dirty="0"/>
          </a:p>
        </p:txBody>
      </p:sp>
    </p:spTree>
    <p:extLst>
      <p:ext uri="{BB962C8B-B14F-4D97-AF65-F5344CB8AC3E}">
        <p14:creationId xmlns:p14="http://schemas.microsoft.com/office/powerpoint/2010/main" val="273400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9806C6F-4189-4D30-92F8-74DA9044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76" y="675107"/>
            <a:ext cx="10515600" cy="758277"/>
          </a:xfrm>
        </p:spPr>
        <p:txBody>
          <a:bodyPr>
            <a:normAutofit fontScale="90000"/>
          </a:bodyPr>
          <a:lstStyle/>
          <a:p>
            <a:r>
              <a:rPr lang="es-ES" sz="5400" dirty="0"/>
              <a:t>Requisitos de los participantes</a:t>
            </a:r>
          </a:p>
        </p:txBody>
      </p:sp>
      <p:sp>
        <p:nvSpPr>
          <p:cNvPr id="10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n 9" descr="Logo de Fundación ONCE&#10;&#10;Logo de Fundación ONCE">
            <a:extLst>
              <a:ext uri="{FF2B5EF4-FFF2-40B4-BE49-F238E27FC236}">
                <a16:creationId xmlns:a16="http://schemas.microsoft.com/office/drawing/2014/main" id="{3256AD08-B940-4E1E-83EE-EC0A64AC1D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8006D8-2CC2-4E6F-A645-7C7859D9B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sp>
        <p:nvSpPr>
          <p:cNvPr id="13" name="Marcador de contenido 2">
            <a:extLst>
              <a:ext uri="{FF2B5EF4-FFF2-40B4-BE49-F238E27FC236}">
                <a16:creationId xmlns:a16="http://schemas.microsoft.com/office/drawing/2014/main" id="{BBD28F6B-A502-493F-9A24-CEDA654E31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9036" y="1807539"/>
            <a:ext cx="10683240" cy="4270206"/>
          </a:xfrm>
        </p:spPr>
        <p:txBody>
          <a:bodyPr anchor="ctr">
            <a:normAutofit/>
          </a:bodyPr>
          <a:lstStyle/>
          <a:p>
            <a:pPr lvl="1" algn="just"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Discapacidad </a:t>
            </a:r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reconocida (igual o superior al 33% e incapacidad permanente)</a:t>
            </a:r>
          </a:p>
          <a:p>
            <a:pPr marL="457200" lvl="1" indent="0" algn="just">
              <a:buClr>
                <a:srgbClr val="00B050"/>
              </a:buClr>
              <a:buSzPct val="150000"/>
              <a:buNone/>
            </a:pPr>
            <a:endParaRPr lang="es-E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Estar en situación de </a:t>
            </a:r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desempleo</a:t>
            </a: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inactividad </a:t>
            </a: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(no ocupado, no parado) o </a:t>
            </a:r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mejora de empleo, al inicio de la incorporación en el programa.</a:t>
            </a:r>
          </a:p>
          <a:p>
            <a:pPr lvl="1" algn="just"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endParaRPr lang="es-E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Nacionalidad española / UE o permiso de residencia en vigor.</a:t>
            </a:r>
            <a:endParaRPr lang="es-E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68253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9806C6F-4189-4D30-92F8-74DA9044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76" y="675107"/>
            <a:ext cx="10515600" cy="758277"/>
          </a:xfrm>
        </p:spPr>
        <p:txBody>
          <a:bodyPr>
            <a:normAutofit fontScale="90000"/>
          </a:bodyPr>
          <a:lstStyle/>
          <a:p>
            <a:r>
              <a:rPr lang="es-ES" sz="5400" dirty="0"/>
              <a:t>Requisitos de las operaciones</a:t>
            </a:r>
          </a:p>
        </p:txBody>
      </p:sp>
      <p:sp>
        <p:nvSpPr>
          <p:cNvPr id="10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n 9" descr="Logo de Fundación ONCE&#10;&#10;Logo de Fundación ONCE">
            <a:extLst>
              <a:ext uri="{FF2B5EF4-FFF2-40B4-BE49-F238E27FC236}">
                <a16:creationId xmlns:a16="http://schemas.microsoft.com/office/drawing/2014/main" id="{3256AD08-B940-4E1E-83EE-EC0A64AC1D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8006D8-2CC2-4E6F-A645-7C7859D9B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A96055C-35AC-473F-829A-811A4CADFE7D}"/>
              </a:ext>
            </a:extLst>
          </p:cNvPr>
          <p:cNvSpPr txBox="1"/>
          <p:nvPr/>
        </p:nvSpPr>
        <p:spPr>
          <a:xfrm>
            <a:off x="669035" y="2424899"/>
            <a:ext cx="10683241" cy="23237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sz="2000" b="1" dirty="0">
                <a:latin typeface="Arial" panose="020B0604020202020204" pitchFamily="34" charset="0"/>
                <a:cs typeface="Arial" panose="020B0604020202020204" pitchFamily="34" charset="0"/>
              </a:rPr>
              <a:t>Grupos</a:t>
            </a:r>
            <a:r>
              <a:rPr lang="es-ES" sz="20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s-ES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a 15 personas participantes</a:t>
            </a:r>
            <a:endParaRPr lang="es-ES" sz="20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endParaRPr lang="es-E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Aft>
                <a:spcPts val="600"/>
              </a:spcAft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sz="2000" b="1" dirty="0">
                <a:solidFill>
                  <a:srgbClr val="0070C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s-ES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tipos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e</a:t>
            </a:r>
            <a:r>
              <a:rPr lang="es-ES" sz="20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ctuaciones</a:t>
            </a:r>
            <a:r>
              <a:rPr lang="es-ES" sz="2000" b="1" dirty="0">
                <a:solidFill>
                  <a:srgbClr val="0070C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1371600" lvl="2" indent="-457200">
              <a:buClr>
                <a:srgbClr val="0070C0"/>
              </a:buClr>
              <a:buSzPct val="100000"/>
              <a:buFont typeface="+mj-lt"/>
              <a:buAutoNum type="arabicPeriod"/>
            </a:pPr>
            <a:r>
              <a:rPr lang="es-ES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ormación específica y en competencias</a:t>
            </a:r>
          </a:p>
          <a:p>
            <a:pPr marL="1371600" lvl="2" indent="-457200">
              <a:buClr>
                <a:srgbClr val="0070C0"/>
              </a:buClr>
              <a:buSzPct val="100000"/>
              <a:buFont typeface="+mj-lt"/>
              <a:buAutoNum type="arabicPeriod"/>
            </a:pPr>
            <a:r>
              <a:rPr lang="es-ES" sz="2000" b="1" dirty="0">
                <a:solidFill>
                  <a:srgbClr val="0070C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ormación teórica y formación en puesto de trabajo</a:t>
            </a:r>
            <a:endParaRPr lang="es-ES" sz="2000" b="1" dirty="0">
              <a:solidFill>
                <a:srgbClr val="0070C0"/>
              </a:solidFill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endParaRPr lang="es-ES" sz="2000" b="1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sz="20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umplir los </a:t>
            </a:r>
            <a:r>
              <a:rPr lang="es-ES" sz="2000" b="1" dirty="0">
                <a:solidFill>
                  <a:srgbClr val="0070C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equisitos mínimos </a:t>
            </a:r>
            <a:r>
              <a:rPr lang="es-ES" sz="20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entro de cada tipología de formación.</a:t>
            </a:r>
            <a:endParaRPr lang="es-E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55559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dirty="0">
                <a:cs typeface="Arial" panose="020B0604020202020204" pitchFamily="34" charset="0"/>
              </a:rPr>
              <a:t>Requisitos de las tipologías de formación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F0FE147E-7B62-41A7-B5F6-F698E5D4FC5A}"/>
              </a:ext>
            </a:extLst>
          </p:cNvPr>
          <p:cNvSpPr/>
          <p:nvPr/>
        </p:nvSpPr>
        <p:spPr>
          <a:xfrm>
            <a:off x="0" y="6568751"/>
            <a:ext cx="1390261" cy="2892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8" name="Imagen 9" descr="Logo de Fundación ONCE&#10;&#10;Logo de Fundación ONCE">
            <a:extLst>
              <a:ext uri="{FF2B5EF4-FFF2-40B4-BE49-F238E27FC236}">
                <a16:creationId xmlns:a16="http://schemas.microsoft.com/office/drawing/2014/main" id="{248DC733-C2E7-4463-83F4-CA7FAF4F18C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9C4A834-6BB9-4344-92C4-8CDCE3CDB6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8C4AD0DE-E95F-4A0C-A9E3-E43CDED218FF}"/>
              </a:ext>
            </a:extLst>
          </p:cNvPr>
          <p:cNvGrpSpPr/>
          <p:nvPr/>
        </p:nvGrpSpPr>
        <p:grpSpPr>
          <a:xfrm>
            <a:off x="838202" y="1911358"/>
            <a:ext cx="10395855" cy="1662265"/>
            <a:chOff x="638714" y="1308295"/>
            <a:chExt cx="10395855" cy="15047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28E8BB2-652B-4E92-A28E-DFCBD1501BB4}"/>
                </a:ext>
              </a:extLst>
            </p:cNvPr>
            <p:cNvSpPr/>
            <p:nvPr/>
          </p:nvSpPr>
          <p:spPr bwMode="auto">
            <a:xfrm>
              <a:off x="3392798" y="1308295"/>
              <a:ext cx="7641771" cy="14907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tIns="0" rIns="0" bIns="0" rtlCol="0" anchor="ctr"/>
            <a:lstStyle/>
            <a:p>
              <a:pPr marL="285750" lvl="1" indent="-285750" algn="just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es-ES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ínimo de </a:t>
              </a:r>
              <a:r>
                <a:rPr lang="es-ES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0 horas </a:t>
              </a:r>
              <a:r>
                <a:rPr lang="es-ES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r persona participante.</a:t>
              </a:r>
            </a:p>
            <a:p>
              <a:pPr marL="285750" lvl="1" indent="-285750" algn="just">
                <a:spcAft>
                  <a:spcPts val="1200"/>
                </a:spcAft>
                <a:buFont typeface="Arial" panose="020B0604020202020204" pitchFamily="34" charset="0"/>
                <a:buChar char="•"/>
              </a:pPr>
              <a:r>
                <a:rPr lang="es-ES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arrollo de </a:t>
              </a:r>
              <a:r>
                <a:rPr lang="es-ES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ciones formativas en competencias generales y formación teórica para perfiles profesionales específicos</a:t>
              </a:r>
              <a:r>
                <a:rPr lang="es-ES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; o sólo </a:t>
              </a:r>
              <a:r>
                <a:rPr lang="es-ES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mación en perfiles profesionales específicos</a:t>
              </a:r>
              <a:r>
                <a:rPr lang="es-ES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lang="es-E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Pentagon 26">
              <a:extLst>
                <a:ext uri="{FF2B5EF4-FFF2-40B4-BE49-F238E27FC236}">
                  <a16:creationId xmlns:a16="http://schemas.microsoft.com/office/drawing/2014/main" id="{C13485B4-F095-44AB-A0CD-57A71B6398B1}"/>
                </a:ext>
              </a:extLst>
            </p:cNvPr>
            <p:cNvSpPr/>
            <p:nvPr/>
          </p:nvSpPr>
          <p:spPr bwMode="auto">
            <a:xfrm>
              <a:off x="638714" y="1308295"/>
              <a:ext cx="2996680" cy="1504743"/>
            </a:xfrm>
            <a:prstGeom prst="homePlate">
              <a:avLst>
                <a:gd name="adj" fmla="val 27321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Formación específica y en competencias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10D3F666-425F-4F11-AC97-FB00ABD1F163}"/>
              </a:ext>
            </a:extLst>
          </p:cNvPr>
          <p:cNvGrpSpPr/>
          <p:nvPr/>
        </p:nvGrpSpPr>
        <p:grpSpPr>
          <a:xfrm>
            <a:off x="838202" y="3794292"/>
            <a:ext cx="10395855" cy="1662265"/>
            <a:chOff x="638714" y="1308295"/>
            <a:chExt cx="10395855" cy="150474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C54BD975-666A-4C66-90E5-205C75D489F4}"/>
                </a:ext>
              </a:extLst>
            </p:cNvPr>
            <p:cNvSpPr/>
            <p:nvPr/>
          </p:nvSpPr>
          <p:spPr bwMode="auto">
            <a:xfrm>
              <a:off x="3392798" y="1308295"/>
              <a:ext cx="7641771" cy="14907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tIns="0" rIns="0" bIns="0" rtlCol="0" anchor="ctr"/>
            <a:lstStyle/>
            <a:p>
              <a:pPr marL="285750" lvl="1" indent="-285750" algn="just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s-ES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ínimo de </a:t>
              </a:r>
              <a:r>
                <a:rPr lang="es-ES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0 horas </a:t>
              </a:r>
              <a:r>
                <a:rPr lang="es-ES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r persona participante.</a:t>
              </a:r>
            </a:p>
            <a:p>
              <a:pPr marL="285750" lvl="1" indent="-285750" algn="just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s-ES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ase de </a:t>
              </a:r>
              <a:r>
                <a:rPr lang="es-ES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mación teórica</a:t>
              </a:r>
              <a:r>
                <a:rPr lang="es-ES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mínimo 120 horas por persona participante</a:t>
              </a:r>
            </a:p>
            <a:p>
              <a:pPr marL="285750" lvl="1" indent="-285750" algn="just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s-ES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ase de </a:t>
              </a:r>
              <a:r>
                <a:rPr lang="es-ES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ciones formativas en puesto de trabajo</a:t>
              </a:r>
              <a:r>
                <a:rPr lang="es-ES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mínimo de 80 horas por persona participante.</a:t>
              </a:r>
              <a:endParaRPr lang="es-E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Pentagon 26">
              <a:extLst>
                <a:ext uri="{FF2B5EF4-FFF2-40B4-BE49-F238E27FC236}">
                  <a16:creationId xmlns:a16="http://schemas.microsoft.com/office/drawing/2014/main" id="{423CD1F5-EFF5-48BD-9CE6-F3149404EA53}"/>
                </a:ext>
              </a:extLst>
            </p:cNvPr>
            <p:cNvSpPr/>
            <p:nvPr/>
          </p:nvSpPr>
          <p:spPr bwMode="auto">
            <a:xfrm>
              <a:off x="638714" y="1308295"/>
              <a:ext cx="2996680" cy="1504743"/>
            </a:xfrm>
            <a:prstGeom prst="homePlate">
              <a:avLst>
                <a:gd name="adj" fmla="val 27321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Formación teórica y formación en puesto de trabajo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050761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9806C6F-4189-4D30-92F8-74DA9044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76" y="675107"/>
            <a:ext cx="10515600" cy="758277"/>
          </a:xfrm>
        </p:spPr>
        <p:txBody>
          <a:bodyPr>
            <a:normAutofit fontScale="90000"/>
          </a:bodyPr>
          <a:lstStyle/>
          <a:p>
            <a:r>
              <a:rPr lang="es-ES" sz="5400" dirty="0"/>
              <a:t>Aportaciones económicas</a:t>
            </a:r>
          </a:p>
        </p:txBody>
      </p:sp>
      <p:sp>
        <p:nvSpPr>
          <p:cNvPr id="10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n 9" descr="Logo de Fundación ONCE&#10;&#10;Logo de Fundación ONCE">
            <a:extLst>
              <a:ext uri="{FF2B5EF4-FFF2-40B4-BE49-F238E27FC236}">
                <a16:creationId xmlns:a16="http://schemas.microsoft.com/office/drawing/2014/main" id="{3256AD08-B940-4E1E-83EE-EC0A64AC1D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8006D8-2CC2-4E6F-A645-7C7859D9B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sp>
        <p:nvSpPr>
          <p:cNvPr id="12" name="Marcador de contenido 2">
            <a:extLst>
              <a:ext uri="{FF2B5EF4-FFF2-40B4-BE49-F238E27FC236}">
                <a16:creationId xmlns:a16="http://schemas.microsoft.com/office/drawing/2014/main" id="{B10254E5-A81A-4809-8B40-947FCFA74B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723" y="831566"/>
            <a:ext cx="11200843" cy="4776131"/>
          </a:xfrm>
        </p:spPr>
        <p:txBody>
          <a:bodyPr anchor="ctr">
            <a:normAutofit/>
          </a:bodyPr>
          <a:lstStyle/>
          <a:p>
            <a:pPr marL="62230" marR="387985" indent="0" algn="just">
              <a:lnSpc>
                <a:spcPct val="101000"/>
              </a:lnSpc>
              <a:spcBef>
                <a:spcPts val="5"/>
              </a:spcBef>
              <a:spcAft>
                <a:spcPts val="0"/>
              </a:spcAft>
              <a:buNone/>
            </a:pPr>
            <a:endParaRPr lang="es-ES" sz="2400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290830" marR="387985" algn="just">
              <a:lnSpc>
                <a:spcPct val="101000"/>
              </a:lnSpc>
              <a:spcBef>
                <a:spcPts val="5"/>
              </a:spcBef>
              <a:spcAft>
                <a:spcPts val="0"/>
              </a:spcAft>
            </a:pPr>
            <a:endParaRPr lang="es-ES" sz="24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290830" marR="387985" algn="just">
              <a:lnSpc>
                <a:spcPct val="101000"/>
              </a:lnSpc>
              <a:spcBef>
                <a:spcPts val="5"/>
              </a:spcBef>
              <a:spcAft>
                <a:spcPts val="600"/>
              </a:spcAft>
            </a:pPr>
            <a:r>
              <a:rPr lang="es-ES" sz="2400" dirty="0">
                <a:latin typeface="Arial" panose="020B0604020202020204" pitchFamily="34" charset="0"/>
                <a:ea typeface="Arial" panose="020B0604020202020204" pitchFamily="34" charset="0"/>
              </a:rPr>
              <a:t>Por norma general, para la realización de la operación se concederá a la entidad beneficiaria un importe fijo por modalidad de: </a:t>
            </a:r>
          </a:p>
          <a:p>
            <a:pPr marL="62230" marR="387985" indent="0" algn="just">
              <a:lnSpc>
                <a:spcPct val="101000"/>
              </a:lnSpc>
              <a:spcBef>
                <a:spcPts val="5"/>
              </a:spcBef>
              <a:spcAft>
                <a:spcPts val="600"/>
              </a:spcAft>
              <a:buNone/>
            </a:pPr>
            <a:endParaRPr lang="es-ES" sz="2400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519430" marR="387985" indent="-457200" algn="just">
              <a:lnSpc>
                <a:spcPct val="101000"/>
              </a:lnSpc>
              <a:spcBef>
                <a:spcPts val="5"/>
              </a:spcBef>
              <a:spcAft>
                <a:spcPts val="600"/>
              </a:spcAft>
              <a:buAutoNum type="alphaLcParenR"/>
            </a:pPr>
            <a:r>
              <a:rPr lang="es-ES" sz="2400" b="1" dirty="0">
                <a:solidFill>
                  <a:srgbClr val="0070C0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Formación específica y en competencias</a:t>
            </a:r>
            <a:r>
              <a:rPr lang="es-ES" sz="2400" dirty="0">
                <a:latin typeface="Arial" panose="020B0604020202020204" pitchFamily="34" charset="0"/>
                <a:ea typeface="Arial" panose="020B0604020202020204" pitchFamily="34" charset="0"/>
              </a:rPr>
              <a:t>: </a:t>
            </a:r>
            <a:r>
              <a:rPr lang="es-ES" sz="2400" b="1" dirty="0">
                <a:latin typeface="Arial" panose="020B0604020202020204" pitchFamily="34" charset="0"/>
                <a:ea typeface="Arial" panose="020B0604020202020204" pitchFamily="34" charset="0"/>
              </a:rPr>
              <a:t>1.670,00 euros </a:t>
            </a:r>
            <a:r>
              <a:rPr lang="es-ES" sz="2400" dirty="0">
                <a:latin typeface="Arial" panose="020B0604020202020204" pitchFamily="34" charset="0"/>
                <a:ea typeface="Arial" panose="020B0604020202020204" pitchFamily="34" charset="0"/>
              </a:rPr>
              <a:t>por persona participante.   </a:t>
            </a:r>
          </a:p>
          <a:p>
            <a:pPr marL="519430" marR="387985" indent="-457200" algn="just">
              <a:lnSpc>
                <a:spcPct val="101000"/>
              </a:lnSpc>
              <a:spcBef>
                <a:spcPts val="5"/>
              </a:spcBef>
              <a:spcAft>
                <a:spcPts val="600"/>
              </a:spcAft>
              <a:buAutoNum type="alphaLcParenR"/>
            </a:pPr>
            <a:r>
              <a:rPr lang="es-ES" sz="2400" b="1" dirty="0">
                <a:solidFill>
                  <a:srgbClr val="0070C0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Formación teórica y formación en puesto de trabajo</a:t>
            </a:r>
            <a:r>
              <a:rPr lang="es-ES" sz="2400" dirty="0">
                <a:latin typeface="Arial" panose="020B0604020202020204" pitchFamily="34" charset="0"/>
                <a:ea typeface="Arial" panose="020B0604020202020204" pitchFamily="34" charset="0"/>
              </a:rPr>
              <a:t>: </a:t>
            </a:r>
            <a:r>
              <a:rPr lang="es-ES" sz="2400" b="1" dirty="0">
                <a:latin typeface="Arial" panose="020B0604020202020204" pitchFamily="34" charset="0"/>
                <a:ea typeface="Arial" panose="020B0604020202020204" pitchFamily="34" charset="0"/>
              </a:rPr>
              <a:t>2.150,00 euros </a:t>
            </a:r>
            <a:r>
              <a:rPr lang="es-ES" sz="2400" dirty="0">
                <a:latin typeface="Arial" panose="020B0604020202020204" pitchFamily="34" charset="0"/>
                <a:ea typeface="Arial" panose="020B0604020202020204" pitchFamily="34" charset="0"/>
              </a:rPr>
              <a:t>por persona participante.</a:t>
            </a:r>
            <a:endParaRPr lang="es-ES" sz="24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2302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9806C6F-4189-4D30-92F8-74DA9044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76" y="675107"/>
            <a:ext cx="10515600" cy="758277"/>
          </a:xfrm>
        </p:spPr>
        <p:txBody>
          <a:bodyPr>
            <a:normAutofit fontScale="90000"/>
          </a:bodyPr>
          <a:lstStyle/>
          <a:p>
            <a:r>
              <a:rPr lang="es-ES" sz="5400" dirty="0"/>
              <a:t>Plazos</a:t>
            </a:r>
          </a:p>
        </p:txBody>
      </p:sp>
      <p:pic>
        <p:nvPicPr>
          <p:cNvPr id="9" name="Imagen 9" descr="Logo de Fundación ONCE&#10;&#10;Logo de Fundación ONCE">
            <a:extLst>
              <a:ext uri="{FF2B5EF4-FFF2-40B4-BE49-F238E27FC236}">
                <a16:creationId xmlns:a16="http://schemas.microsoft.com/office/drawing/2014/main" id="{3256AD08-B940-4E1E-83EE-EC0A64AC1D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8006D8-2CC2-4E6F-A645-7C7859D9B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51EF93B-18BD-4165-9BD6-D5078D838764}"/>
              </a:ext>
            </a:extLst>
          </p:cNvPr>
          <p:cNvSpPr/>
          <p:nvPr/>
        </p:nvSpPr>
        <p:spPr>
          <a:xfrm>
            <a:off x="0" y="6568751"/>
            <a:ext cx="1390261" cy="2892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5B69ED13-3A2C-4A5C-8E5E-17429C83EE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42188" y="1875453"/>
            <a:ext cx="8388220" cy="3200400"/>
          </a:xfrm>
        </p:spPr>
        <p:txBody>
          <a:bodyPr anchor="ctr">
            <a:normAutofit/>
          </a:bodyPr>
          <a:lstStyle/>
          <a:p>
            <a:pPr marL="41910" marR="387985" indent="0" algn="ctr">
              <a:lnSpc>
                <a:spcPct val="105000"/>
              </a:lnSpc>
              <a:spcBef>
                <a:spcPts val="595"/>
              </a:spcBef>
              <a:buNone/>
              <a:tabLst>
                <a:tab pos="810260" algn="l"/>
              </a:tabLst>
            </a:pPr>
            <a:r>
              <a:rPr lang="es-ES" sz="20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PLAZO DE PRESENTACIÓN SOLICITUDES</a:t>
            </a:r>
            <a:endParaRPr lang="es-ES" sz="20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41910" marR="387985" indent="0" algn="ctr">
              <a:lnSpc>
                <a:spcPct val="105000"/>
              </a:lnSpc>
              <a:spcBef>
                <a:spcPts val="595"/>
              </a:spcBef>
              <a:buNone/>
              <a:tabLst>
                <a:tab pos="810260" algn="l"/>
              </a:tabLst>
            </a:pPr>
            <a:r>
              <a:rPr lang="es-ES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2 de diciembre de 2022 12:00 h mediodía</a:t>
            </a:r>
            <a:r>
              <a:rPr lang="es-ES" sz="20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(hora peninsular)</a:t>
            </a:r>
          </a:p>
          <a:p>
            <a:pPr marL="41910" marR="387985" indent="0" algn="ctr">
              <a:lnSpc>
                <a:spcPct val="105000"/>
              </a:lnSpc>
              <a:spcBef>
                <a:spcPts val="595"/>
              </a:spcBef>
              <a:buNone/>
              <a:tabLst>
                <a:tab pos="810260" algn="l"/>
              </a:tabLst>
            </a:pPr>
            <a:endParaRPr lang="es-ES" sz="20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41910" marR="387985" indent="0" algn="ctr">
              <a:lnSpc>
                <a:spcPct val="105000"/>
              </a:lnSpc>
              <a:spcBef>
                <a:spcPts val="595"/>
              </a:spcBef>
              <a:buNone/>
              <a:tabLst>
                <a:tab pos="810260" algn="l"/>
              </a:tabLst>
            </a:pPr>
            <a:endParaRPr lang="es-ES" sz="20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41910" marR="387985" indent="0" algn="ctr">
              <a:lnSpc>
                <a:spcPct val="105000"/>
              </a:lnSpc>
              <a:spcBef>
                <a:spcPts val="595"/>
              </a:spcBef>
              <a:spcAft>
                <a:spcPts val="0"/>
              </a:spcAft>
              <a:buNone/>
              <a:tabLst>
                <a:tab pos="810260" algn="l"/>
              </a:tabLst>
            </a:pPr>
            <a:r>
              <a:rPr lang="es-ES" sz="2000" b="1" dirty="0">
                <a:latin typeface="Arial" panose="020B0604020202020204" pitchFamily="34" charset="0"/>
                <a:ea typeface="Arial" panose="020B0604020202020204" pitchFamily="34" charset="0"/>
              </a:rPr>
              <a:t>PERIODO DE EJECUCIÓN</a:t>
            </a:r>
            <a:endParaRPr lang="es-ES" sz="2000" b="1" dirty="0">
              <a:solidFill>
                <a:srgbClr val="C00000"/>
              </a:solidFill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41910" marR="387985" indent="0" algn="ctr">
              <a:lnSpc>
                <a:spcPct val="105000"/>
              </a:lnSpc>
              <a:spcBef>
                <a:spcPts val="595"/>
              </a:spcBef>
              <a:spcAft>
                <a:spcPts val="0"/>
              </a:spcAft>
              <a:buNone/>
              <a:tabLst>
                <a:tab pos="810260" algn="l"/>
              </a:tabLst>
            </a:pPr>
            <a:r>
              <a:rPr lang="es-ES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1 de </a:t>
            </a:r>
            <a:r>
              <a:rPr lang="es-ES" sz="2000" b="1" dirty="0">
                <a:solidFill>
                  <a:srgbClr val="0070C0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enero</a:t>
            </a:r>
            <a:r>
              <a:rPr lang="es-ES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de 2023 al 30 de septiembre de</a:t>
            </a:r>
            <a:r>
              <a:rPr lang="es-ES" sz="20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2023</a:t>
            </a:r>
            <a:endParaRPr lang="es-ES" sz="2000" dirty="0">
              <a:solidFill>
                <a:srgbClr val="0070C0"/>
              </a:solidFill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grpSp>
        <p:nvGrpSpPr>
          <p:cNvPr id="15" name="Calendar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9219290-8678-425F-8F24-D0BBC0E7F4DE}"/>
              </a:ext>
            </a:extLst>
          </p:cNvPr>
          <p:cNvGrpSpPr>
            <a:grpSpLocks noChangeAspect="1"/>
          </p:cNvGrpSpPr>
          <p:nvPr/>
        </p:nvGrpSpPr>
        <p:grpSpPr>
          <a:xfrm>
            <a:off x="10605890" y="671384"/>
            <a:ext cx="746386" cy="762000"/>
            <a:chOff x="4816476" y="6386513"/>
            <a:chExt cx="379413" cy="387350"/>
          </a:xfrm>
          <a:solidFill>
            <a:srgbClr val="0070C0"/>
          </a:solidFill>
        </p:grpSpPr>
        <p:sp>
          <p:nvSpPr>
            <p:cNvPr id="16" name="Freeform 1001">
              <a:extLst>
                <a:ext uri="{FF2B5EF4-FFF2-40B4-BE49-F238E27FC236}">
                  <a16:creationId xmlns:a16="http://schemas.microsoft.com/office/drawing/2014/main" id="{C939BF35-2A4E-4FA7-A663-1B2C68EF0A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76" y="6410325"/>
              <a:ext cx="79375" cy="187325"/>
            </a:xfrm>
            <a:custGeom>
              <a:avLst/>
              <a:gdLst>
                <a:gd name="T0" fmla="*/ 100 w 469"/>
                <a:gd name="T1" fmla="*/ 1111 h 1111"/>
                <a:gd name="T2" fmla="*/ 0 w 469"/>
                <a:gd name="T3" fmla="*/ 1111 h 1111"/>
                <a:gd name="T4" fmla="*/ 0 w 469"/>
                <a:gd name="T5" fmla="*/ 202 h 1111"/>
                <a:gd name="T6" fmla="*/ 205 w 469"/>
                <a:gd name="T7" fmla="*/ 0 h 1111"/>
                <a:gd name="T8" fmla="*/ 469 w 469"/>
                <a:gd name="T9" fmla="*/ 0 h 1111"/>
                <a:gd name="T10" fmla="*/ 469 w 469"/>
                <a:gd name="T11" fmla="*/ 100 h 1111"/>
                <a:gd name="T12" fmla="*/ 205 w 469"/>
                <a:gd name="T13" fmla="*/ 100 h 1111"/>
                <a:gd name="T14" fmla="*/ 100 w 469"/>
                <a:gd name="T15" fmla="*/ 202 h 1111"/>
                <a:gd name="T16" fmla="*/ 100 w 469"/>
                <a:gd name="T17" fmla="*/ 1111 h 1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9" h="1111">
                  <a:moveTo>
                    <a:pt x="100" y="1111"/>
                  </a:moveTo>
                  <a:lnTo>
                    <a:pt x="0" y="1111"/>
                  </a:lnTo>
                  <a:lnTo>
                    <a:pt x="0" y="202"/>
                  </a:lnTo>
                  <a:cubicBezTo>
                    <a:pt x="0" y="89"/>
                    <a:pt x="90" y="0"/>
                    <a:pt x="205" y="0"/>
                  </a:cubicBezTo>
                  <a:lnTo>
                    <a:pt x="469" y="0"/>
                  </a:lnTo>
                  <a:lnTo>
                    <a:pt x="469" y="100"/>
                  </a:lnTo>
                  <a:lnTo>
                    <a:pt x="205" y="100"/>
                  </a:lnTo>
                  <a:cubicBezTo>
                    <a:pt x="145" y="100"/>
                    <a:pt x="100" y="144"/>
                    <a:pt x="100" y="202"/>
                  </a:cubicBezTo>
                  <a:lnTo>
                    <a:pt x="100" y="1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002">
              <a:extLst>
                <a:ext uri="{FF2B5EF4-FFF2-40B4-BE49-F238E27FC236}">
                  <a16:creationId xmlns:a16="http://schemas.microsoft.com/office/drawing/2014/main" id="{E640DCDC-CB2A-46F7-B8EA-0AD31EB3DF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6476" y="6610350"/>
              <a:ext cx="17463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1003">
              <a:extLst>
                <a:ext uri="{FF2B5EF4-FFF2-40B4-BE49-F238E27FC236}">
                  <a16:creationId xmlns:a16="http://schemas.microsoft.com/office/drawing/2014/main" id="{610E2FE1-9C0B-431B-A5FD-F3C39778C2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6476" y="6654800"/>
              <a:ext cx="17463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004">
              <a:extLst>
                <a:ext uri="{FF2B5EF4-FFF2-40B4-BE49-F238E27FC236}">
                  <a16:creationId xmlns:a16="http://schemas.microsoft.com/office/drawing/2014/main" id="{05F0A3A8-0AE1-4C53-B485-A99ACD30D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76" y="6410325"/>
              <a:ext cx="379413" cy="363538"/>
            </a:xfrm>
            <a:custGeom>
              <a:avLst/>
              <a:gdLst>
                <a:gd name="T0" fmla="*/ 2042 w 2243"/>
                <a:gd name="T1" fmla="*/ 2150 h 2150"/>
                <a:gd name="T2" fmla="*/ 205 w 2243"/>
                <a:gd name="T3" fmla="*/ 2150 h 2150"/>
                <a:gd name="T4" fmla="*/ 0 w 2243"/>
                <a:gd name="T5" fmla="*/ 1947 h 2150"/>
                <a:gd name="T6" fmla="*/ 0 w 2243"/>
                <a:gd name="T7" fmla="*/ 1619 h 2150"/>
                <a:gd name="T8" fmla="*/ 100 w 2243"/>
                <a:gd name="T9" fmla="*/ 1619 h 2150"/>
                <a:gd name="T10" fmla="*/ 100 w 2243"/>
                <a:gd name="T11" fmla="*/ 1947 h 2150"/>
                <a:gd name="T12" fmla="*/ 205 w 2243"/>
                <a:gd name="T13" fmla="*/ 2050 h 2150"/>
                <a:gd name="T14" fmla="*/ 2042 w 2243"/>
                <a:gd name="T15" fmla="*/ 2050 h 2150"/>
                <a:gd name="T16" fmla="*/ 2143 w 2243"/>
                <a:gd name="T17" fmla="*/ 1947 h 2150"/>
                <a:gd name="T18" fmla="*/ 2143 w 2243"/>
                <a:gd name="T19" fmla="*/ 202 h 2150"/>
                <a:gd name="T20" fmla="*/ 2042 w 2243"/>
                <a:gd name="T21" fmla="*/ 100 h 2150"/>
                <a:gd name="T22" fmla="*/ 1935 w 2243"/>
                <a:gd name="T23" fmla="*/ 100 h 2150"/>
                <a:gd name="T24" fmla="*/ 1935 w 2243"/>
                <a:gd name="T25" fmla="*/ 0 h 2150"/>
                <a:gd name="T26" fmla="*/ 2042 w 2243"/>
                <a:gd name="T27" fmla="*/ 0 h 2150"/>
                <a:gd name="T28" fmla="*/ 2243 w 2243"/>
                <a:gd name="T29" fmla="*/ 202 h 2150"/>
                <a:gd name="T30" fmla="*/ 2243 w 2243"/>
                <a:gd name="T31" fmla="*/ 1947 h 2150"/>
                <a:gd name="T32" fmla="*/ 2042 w 2243"/>
                <a:gd name="T33" fmla="*/ 2150 h 2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43" h="2150">
                  <a:moveTo>
                    <a:pt x="2042" y="2150"/>
                  </a:moveTo>
                  <a:lnTo>
                    <a:pt x="205" y="2150"/>
                  </a:lnTo>
                  <a:cubicBezTo>
                    <a:pt x="90" y="2150"/>
                    <a:pt x="0" y="2061"/>
                    <a:pt x="0" y="1947"/>
                  </a:cubicBezTo>
                  <a:lnTo>
                    <a:pt x="0" y="1619"/>
                  </a:lnTo>
                  <a:lnTo>
                    <a:pt x="100" y="1619"/>
                  </a:lnTo>
                  <a:lnTo>
                    <a:pt x="100" y="1947"/>
                  </a:lnTo>
                  <a:cubicBezTo>
                    <a:pt x="100" y="2004"/>
                    <a:pt x="146" y="2050"/>
                    <a:pt x="205" y="2050"/>
                  </a:cubicBezTo>
                  <a:lnTo>
                    <a:pt x="2042" y="2050"/>
                  </a:lnTo>
                  <a:cubicBezTo>
                    <a:pt x="2100" y="2050"/>
                    <a:pt x="2143" y="2006"/>
                    <a:pt x="2143" y="1947"/>
                  </a:cubicBezTo>
                  <a:lnTo>
                    <a:pt x="2143" y="202"/>
                  </a:lnTo>
                  <a:cubicBezTo>
                    <a:pt x="2143" y="143"/>
                    <a:pt x="2100" y="100"/>
                    <a:pt x="2042" y="100"/>
                  </a:cubicBezTo>
                  <a:lnTo>
                    <a:pt x="1935" y="100"/>
                  </a:lnTo>
                  <a:lnTo>
                    <a:pt x="1935" y="0"/>
                  </a:lnTo>
                  <a:lnTo>
                    <a:pt x="2042" y="0"/>
                  </a:lnTo>
                  <a:cubicBezTo>
                    <a:pt x="2154" y="0"/>
                    <a:pt x="2243" y="89"/>
                    <a:pt x="2243" y="202"/>
                  </a:cubicBezTo>
                  <a:lnTo>
                    <a:pt x="2243" y="1947"/>
                  </a:lnTo>
                  <a:cubicBezTo>
                    <a:pt x="2243" y="2061"/>
                    <a:pt x="2154" y="2150"/>
                    <a:pt x="2042" y="2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1005">
              <a:extLst>
                <a:ext uri="{FF2B5EF4-FFF2-40B4-BE49-F238E27FC236}">
                  <a16:creationId xmlns:a16="http://schemas.microsoft.com/office/drawing/2014/main" id="{A55E4404-B8E0-4B0D-B871-7DBA41065C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51" y="6410325"/>
              <a:ext cx="3175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1006">
              <a:extLst>
                <a:ext uri="{FF2B5EF4-FFF2-40B4-BE49-F238E27FC236}">
                  <a16:creationId xmlns:a16="http://schemas.microsoft.com/office/drawing/2014/main" id="{1CDAF0FA-8CFE-4AD7-85B0-FB50FF12C6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3801" y="6410325"/>
              <a:ext cx="2857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1007">
              <a:extLst>
                <a:ext uri="{FF2B5EF4-FFF2-40B4-BE49-F238E27FC236}">
                  <a16:creationId xmlns:a16="http://schemas.microsoft.com/office/drawing/2014/main" id="{28F023C3-C1E8-47AB-9C3E-E62115B6E4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5539" y="6410325"/>
              <a:ext cx="2857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008">
              <a:extLst>
                <a:ext uri="{FF2B5EF4-FFF2-40B4-BE49-F238E27FC236}">
                  <a16:creationId xmlns:a16="http://schemas.microsoft.com/office/drawing/2014/main" id="{12C79F8C-C774-4ACE-974E-374C0D3412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8389" y="6386513"/>
              <a:ext cx="44450" cy="84138"/>
            </a:xfrm>
            <a:custGeom>
              <a:avLst/>
              <a:gdLst>
                <a:gd name="T0" fmla="*/ 126 w 261"/>
                <a:gd name="T1" fmla="*/ 100 h 491"/>
                <a:gd name="T2" fmla="*/ 100 w 261"/>
                <a:gd name="T3" fmla="*/ 126 h 491"/>
                <a:gd name="T4" fmla="*/ 100 w 261"/>
                <a:gd name="T5" fmla="*/ 365 h 491"/>
                <a:gd name="T6" fmla="*/ 126 w 261"/>
                <a:gd name="T7" fmla="*/ 391 h 491"/>
                <a:gd name="T8" fmla="*/ 135 w 261"/>
                <a:gd name="T9" fmla="*/ 391 h 491"/>
                <a:gd name="T10" fmla="*/ 161 w 261"/>
                <a:gd name="T11" fmla="*/ 365 h 491"/>
                <a:gd name="T12" fmla="*/ 161 w 261"/>
                <a:gd name="T13" fmla="*/ 126 h 491"/>
                <a:gd name="T14" fmla="*/ 135 w 261"/>
                <a:gd name="T15" fmla="*/ 100 h 491"/>
                <a:gd name="T16" fmla="*/ 126 w 261"/>
                <a:gd name="T17" fmla="*/ 100 h 491"/>
                <a:gd name="T18" fmla="*/ 135 w 261"/>
                <a:gd name="T19" fmla="*/ 491 h 491"/>
                <a:gd name="T20" fmla="*/ 126 w 261"/>
                <a:gd name="T21" fmla="*/ 491 h 491"/>
                <a:gd name="T22" fmla="*/ 0 w 261"/>
                <a:gd name="T23" fmla="*/ 365 h 491"/>
                <a:gd name="T24" fmla="*/ 0 w 261"/>
                <a:gd name="T25" fmla="*/ 126 h 491"/>
                <a:gd name="T26" fmla="*/ 126 w 261"/>
                <a:gd name="T27" fmla="*/ 0 h 491"/>
                <a:gd name="T28" fmla="*/ 135 w 261"/>
                <a:gd name="T29" fmla="*/ 0 h 491"/>
                <a:gd name="T30" fmla="*/ 261 w 261"/>
                <a:gd name="T31" fmla="*/ 126 h 491"/>
                <a:gd name="T32" fmla="*/ 261 w 261"/>
                <a:gd name="T33" fmla="*/ 365 h 491"/>
                <a:gd name="T34" fmla="*/ 135 w 261"/>
                <a:gd name="T35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1" h="491">
                  <a:moveTo>
                    <a:pt x="126" y="100"/>
                  </a:moveTo>
                  <a:cubicBezTo>
                    <a:pt x="112" y="100"/>
                    <a:pt x="100" y="111"/>
                    <a:pt x="100" y="126"/>
                  </a:cubicBezTo>
                  <a:lnTo>
                    <a:pt x="100" y="365"/>
                  </a:lnTo>
                  <a:cubicBezTo>
                    <a:pt x="100" y="379"/>
                    <a:pt x="112" y="391"/>
                    <a:pt x="126" y="391"/>
                  </a:cubicBezTo>
                  <a:lnTo>
                    <a:pt x="135" y="391"/>
                  </a:lnTo>
                  <a:cubicBezTo>
                    <a:pt x="149" y="391"/>
                    <a:pt x="161" y="379"/>
                    <a:pt x="161" y="365"/>
                  </a:cubicBezTo>
                  <a:lnTo>
                    <a:pt x="161" y="126"/>
                  </a:lnTo>
                  <a:cubicBezTo>
                    <a:pt x="161" y="111"/>
                    <a:pt x="149" y="100"/>
                    <a:pt x="135" y="100"/>
                  </a:cubicBezTo>
                  <a:lnTo>
                    <a:pt x="126" y="100"/>
                  </a:lnTo>
                  <a:close/>
                  <a:moveTo>
                    <a:pt x="135" y="491"/>
                  </a:moveTo>
                  <a:lnTo>
                    <a:pt x="126" y="491"/>
                  </a:lnTo>
                  <a:cubicBezTo>
                    <a:pt x="57" y="491"/>
                    <a:pt x="0" y="434"/>
                    <a:pt x="0" y="365"/>
                  </a:cubicBezTo>
                  <a:lnTo>
                    <a:pt x="0" y="126"/>
                  </a:lnTo>
                  <a:cubicBezTo>
                    <a:pt x="0" y="56"/>
                    <a:pt x="57" y="0"/>
                    <a:pt x="126" y="0"/>
                  </a:cubicBezTo>
                  <a:lnTo>
                    <a:pt x="135" y="0"/>
                  </a:lnTo>
                  <a:cubicBezTo>
                    <a:pt x="204" y="0"/>
                    <a:pt x="261" y="56"/>
                    <a:pt x="261" y="126"/>
                  </a:cubicBezTo>
                  <a:lnTo>
                    <a:pt x="261" y="365"/>
                  </a:lnTo>
                  <a:cubicBezTo>
                    <a:pt x="261" y="434"/>
                    <a:pt x="204" y="491"/>
                    <a:pt x="135" y="4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010">
              <a:extLst>
                <a:ext uri="{FF2B5EF4-FFF2-40B4-BE49-F238E27FC236}">
                  <a16:creationId xmlns:a16="http://schemas.microsoft.com/office/drawing/2014/main" id="{9DB0E33D-D03C-45AC-87E9-4CA41C64C1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8238" y="6386513"/>
              <a:ext cx="44450" cy="84138"/>
            </a:xfrm>
            <a:custGeom>
              <a:avLst/>
              <a:gdLst>
                <a:gd name="T0" fmla="*/ 126 w 261"/>
                <a:gd name="T1" fmla="*/ 100 h 491"/>
                <a:gd name="T2" fmla="*/ 100 w 261"/>
                <a:gd name="T3" fmla="*/ 126 h 491"/>
                <a:gd name="T4" fmla="*/ 100 w 261"/>
                <a:gd name="T5" fmla="*/ 365 h 491"/>
                <a:gd name="T6" fmla="*/ 126 w 261"/>
                <a:gd name="T7" fmla="*/ 391 h 491"/>
                <a:gd name="T8" fmla="*/ 135 w 261"/>
                <a:gd name="T9" fmla="*/ 391 h 491"/>
                <a:gd name="T10" fmla="*/ 161 w 261"/>
                <a:gd name="T11" fmla="*/ 365 h 491"/>
                <a:gd name="T12" fmla="*/ 161 w 261"/>
                <a:gd name="T13" fmla="*/ 126 h 491"/>
                <a:gd name="T14" fmla="*/ 135 w 261"/>
                <a:gd name="T15" fmla="*/ 100 h 491"/>
                <a:gd name="T16" fmla="*/ 126 w 261"/>
                <a:gd name="T17" fmla="*/ 100 h 491"/>
                <a:gd name="T18" fmla="*/ 135 w 261"/>
                <a:gd name="T19" fmla="*/ 491 h 491"/>
                <a:gd name="T20" fmla="*/ 126 w 261"/>
                <a:gd name="T21" fmla="*/ 491 h 491"/>
                <a:gd name="T22" fmla="*/ 0 w 261"/>
                <a:gd name="T23" fmla="*/ 365 h 491"/>
                <a:gd name="T24" fmla="*/ 0 w 261"/>
                <a:gd name="T25" fmla="*/ 126 h 491"/>
                <a:gd name="T26" fmla="*/ 126 w 261"/>
                <a:gd name="T27" fmla="*/ 0 h 491"/>
                <a:gd name="T28" fmla="*/ 135 w 261"/>
                <a:gd name="T29" fmla="*/ 0 h 491"/>
                <a:gd name="T30" fmla="*/ 261 w 261"/>
                <a:gd name="T31" fmla="*/ 126 h 491"/>
                <a:gd name="T32" fmla="*/ 261 w 261"/>
                <a:gd name="T33" fmla="*/ 365 h 491"/>
                <a:gd name="T34" fmla="*/ 135 w 261"/>
                <a:gd name="T35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1" h="491">
                  <a:moveTo>
                    <a:pt x="126" y="100"/>
                  </a:moveTo>
                  <a:cubicBezTo>
                    <a:pt x="112" y="100"/>
                    <a:pt x="100" y="111"/>
                    <a:pt x="100" y="126"/>
                  </a:cubicBezTo>
                  <a:lnTo>
                    <a:pt x="100" y="365"/>
                  </a:lnTo>
                  <a:cubicBezTo>
                    <a:pt x="100" y="379"/>
                    <a:pt x="112" y="391"/>
                    <a:pt x="126" y="391"/>
                  </a:cubicBezTo>
                  <a:lnTo>
                    <a:pt x="135" y="391"/>
                  </a:lnTo>
                  <a:cubicBezTo>
                    <a:pt x="150" y="391"/>
                    <a:pt x="161" y="379"/>
                    <a:pt x="161" y="365"/>
                  </a:cubicBezTo>
                  <a:lnTo>
                    <a:pt x="161" y="126"/>
                  </a:lnTo>
                  <a:cubicBezTo>
                    <a:pt x="161" y="111"/>
                    <a:pt x="150" y="100"/>
                    <a:pt x="135" y="100"/>
                  </a:cubicBezTo>
                  <a:lnTo>
                    <a:pt x="126" y="100"/>
                  </a:lnTo>
                  <a:close/>
                  <a:moveTo>
                    <a:pt x="135" y="491"/>
                  </a:moveTo>
                  <a:lnTo>
                    <a:pt x="126" y="491"/>
                  </a:lnTo>
                  <a:cubicBezTo>
                    <a:pt x="57" y="491"/>
                    <a:pt x="0" y="434"/>
                    <a:pt x="0" y="365"/>
                  </a:cubicBezTo>
                  <a:lnTo>
                    <a:pt x="0" y="126"/>
                  </a:lnTo>
                  <a:cubicBezTo>
                    <a:pt x="0" y="56"/>
                    <a:pt x="57" y="0"/>
                    <a:pt x="126" y="0"/>
                  </a:cubicBezTo>
                  <a:lnTo>
                    <a:pt x="135" y="0"/>
                  </a:lnTo>
                  <a:cubicBezTo>
                    <a:pt x="205" y="0"/>
                    <a:pt x="261" y="56"/>
                    <a:pt x="261" y="126"/>
                  </a:cubicBezTo>
                  <a:lnTo>
                    <a:pt x="261" y="365"/>
                  </a:lnTo>
                  <a:cubicBezTo>
                    <a:pt x="261" y="434"/>
                    <a:pt x="205" y="491"/>
                    <a:pt x="135" y="4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011">
              <a:extLst>
                <a:ext uri="{FF2B5EF4-FFF2-40B4-BE49-F238E27FC236}">
                  <a16:creationId xmlns:a16="http://schemas.microsoft.com/office/drawing/2014/main" id="{2C462825-4A27-4F23-B37A-8DD2CE8539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9676" y="6386513"/>
              <a:ext cx="42863" cy="84138"/>
            </a:xfrm>
            <a:custGeom>
              <a:avLst/>
              <a:gdLst>
                <a:gd name="T0" fmla="*/ 127 w 261"/>
                <a:gd name="T1" fmla="*/ 100 h 491"/>
                <a:gd name="T2" fmla="*/ 100 w 261"/>
                <a:gd name="T3" fmla="*/ 126 h 491"/>
                <a:gd name="T4" fmla="*/ 100 w 261"/>
                <a:gd name="T5" fmla="*/ 365 h 491"/>
                <a:gd name="T6" fmla="*/ 127 w 261"/>
                <a:gd name="T7" fmla="*/ 391 h 491"/>
                <a:gd name="T8" fmla="*/ 135 w 261"/>
                <a:gd name="T9" fmla="*/ 391 h 491"/>
                <a:gd name="T10" fmla="*/ 161 w 261"/>
                <a:gd name="T11" fmla="*/ 365 h 491"/>
                <a:gd name="T12" fmla="*/ 161 w 261"/>
                <a:gd name="T13" fmla="*/ 126 h 491"/>
                <a:gd name="T14" fmla="*/ 135 w 261"/>
                <a:gd name="T15" fmla="*/ 100 h 491"/>
                <a:gd name="T16" fmla="*/ 127 w 261"/>
                <a:gd name="T17" fmla="*/ 100 h 491"/>
                <a:gd name="T18" fmla="*/ 135 w 261"/>
                <a:gd name="T19" fmla="*/ 491 h 491"/>
                <a:gd name="T20" fmla="*/ 127 w 261"/>
                <a:gd name="T21" fmla="*/ 491 h 491"/>
                <a:gd name="T22" fmla="*/ 0 w 261"/>
                <a:gd name="T23" fmla="*/ 365 h 491"/>
                <a:gd name="T24" fmla="*/ 0 w 261"/>
                <a:gd name="T25" fmla="*/ 126 h 491"/>
                <a:gd name="T26" fmla="*/ 127 w 261"/>
                <a:gd name="T27" fmla="*/ 0 h 491"/>
                <a:gd name="T28" fmla="*/ 135 w 261"/>
                <a:gd name="T29" fmla="*/ 0 h 491"/>
                <a:gd name="T30" fmla="*/ 261 w 261"/>
                <a:gd name="T31" fmla="*/ 126 h 491"/>
                <a:gd name="T32" fmla="*/ 261 w 261"/>
                <a:gd name="T33" fmla="*/ 365 h 491"/>
                <a:gd name="T34" fmla="*/ 135 w 261"/>
                <a:gd name="T35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1" h="491">
                  <a:moveTo>
                    <a:pt x="127" y="100"/>
                  </a:moveTo>
                  <a:cubicBezTo>
                    <a:pt x="112" y="100"/>
                    <a:pt x="100" y="111"/>
                    <a:pt x="100" y="126"/>
                  </a:cubicBezTo>
                  <a:lnTo>
                    <a:pt x="100" y="365"/>
                  </a:lnTo>
                  <a:cubicBezTo>
                    <a:pt x="100" y="379"/>
                    <a:pt x="112" y="391"/>
                    <a:pt x="127" y="391"/>
                  </a:cubicBezTo>
                  <a:lnTo>
                    <a:pt x="135" y="391"/>
                  </a:lnTo>
                  <a:cubicBezTo>
                    <a:pt x="150" y="391"/>
                    <a:pt x="161" y="379"/>
                    <a:pt x="161" y="365"/>
                  </a:cubicBezTo>
                  <a:lnTo>
                    <a:pt x="161" y="126"/>
                  </a:lnTo>
                  <a:cubicBezTo>
                    <a:pt x="161" y="111"/>
                    <a:pt x="150" y="100"/>
                    <a:pt x="135" y="100"/>
                  </a:cubicBezTo>
                  <a:lnTo>
                    <a:pt x="127" y="100"/>
                  </a:lnTo>
                  <a:close/>
                  <a:moveTo>
                    <a:pt x="135" y="491"/>
                  </a:moveTo>
                  <a:lnTo>
                    <a:pt x="127" y="491"/>
                  </a:lnTo>
                  <a:cubicBezTo>
                    <a:pt x="57" y="491"/>
                    <a:pt x="0" y="434"/>
                    <a:pt x="0" y="365"/>
                  </a:cubicBezTo>
                  <a:lnTo>
                    <a:pt x="0" y="126"/>
                  </a:lnTo>
                  <a:cubicBezTo>
                    <a:pt x="0" y="56"/>
                    <a:pt x="57" y="0"/>
                    <a:pt x="127" y="0"/>
                  </a:cubicBezTo>
                  <a:lnTo>
                    <a:pt x="135" y="0"/>
                  </a:lnTo>
                  <a:cubicBezTo>
                    <a:pt x="205" y="0"/>
                    <a:pt x="261" y="56"/>
                    <a:pt x="261" y="126"/>
                  </a:cubicBezTo>
                  <a:lnTo>
                    <a:pt x="261" y="365"/>
                  </a:lnTo>
                  <a:cubicBezTo>
                    <a:pt x="261" y="434"/>
                    <a:pt x="205" y="491"/>
                    <a:pt x="135" y="4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012">
              <a:extLst>
                <a:ext uri="{FF2B5EF4-FFF2-40B4-BE49-F238E27FC236}">
                  <a16:creationId xmlns:a16="http://schemas.microsoft.com/office/drawing/2014/main" id="{C1761A75-7D54-455F-A346-36714B35D6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9526" y="6386513"/>
              <a:ext cx="42863" cy="84138"/>
            </a:xfrm>
            <a:custGeom>
              <a:avLst/>
              <a:gdLst>
                <a:gd name="T0" fmla="*/ 126 w 261"/>
                <a:gd name="T1" fmla="*/ 100 h 491"/>
                <a:gd name="T2" fmla="*/ 100 w 261"/>
                <a:gd name="T3" fmla="*/ 126 h 491"/>
                <a:gd name="T4" fmla="*/ 100 w 261"/>
                <a:gd name="T5" fmla="*/ 365 h 491"/>
                <a:gd name="T6" fmla="*/ 126 w 261"/>
                <a:gd name="T7" fmla="*/ 391 h 491"/>
                <a:gd name="T8" fmla="*/ 135 w 261"/>
                <a:gd name="T9" fmla="*/ 391 h 491"/>
                <a:gd name="T10" fmla="*/ 161 w 261"/>
                <a:gd name="T11" fmla="*/ 365 h 491"/>
                <a:gd name="T12" fmla="*/ 161 w 261"/>
                <a:gd name="T13" fmla="*/ 126 h 491"/>
                <a:gd name="T14" fmla="*/ 135 w 261"/>
                <a:gd name="T15" fmla="*/ 100 h 491"/>
                <a:gd name="T16" fmla="*/ 126 w 261"/>
                <a:gd name="T17" fmla="*/ 100 h 491"/>
                <a:gd name="T18" fmla="*/ 135 w 261"/>
                <a:gd name="T19" fmla="*/ 491 h 491"/>
                <a:gd name="T20" fmla="*/ 126 w 261"/>
                <a:gd name="T21" fmla="*/ 491 h 491"/>
                <a:gd name="T22" fmla="*/ 0 w 261"/>
                <a:gd name="T23" fmla="*/ 365 h 491"/>
                <a:gd name="T24" fmla="*/ 0 w 261"/>
                <a:gd name="T25" fmla="*/ 126 h 491"/>
                <a:gd name="T26" fmla="*/ 126 w 261"/>
                <a:gd name="T27" fmla="*/ 0 h 491"/>
                <a:gd name="T28" fmla="*/ 135 w 261"/>
                <a:gd name="T29" fmla="*/ 0 h 491"/>
                <a:gd name="T30" fmla="*/ 261 w 261"/>
                <a:gd name="T31" fmla="*/ 126 h 491"/>
                <a:gd name="T32" fmla="*/ 261 w 261"/>
                <a:gd name="T33" fmla="*/ 365 h 491"/>
                <a:gd name="T34" fmla="*/ 135 w 261"/>
                <a:gd name="T35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1" h="491">
                  <a:moveTo>
                    <a:pt x="126" y="100"/>
                  </a:moveTo>
                  <a:cubicBezTo>
                    <a:pt x="112" y="100"/>
                    <a:pt x="100" y="111"/>
                    <a:pt x="100" y="126"/>
                  </a:cubicBezTo>
                  <a:lnTo>
                    <a:pt x="100" y="365"/>
                  </a:lnTo>
                  <a:cubicBezTo>
                    <a:pt x="100" y="379"/>
                    <a:pt x="112" y="391"/>
                    <a:pt x="126" y="391"/>
                  </a:cubicBezTo>
                  <a:lnTo>
                    <a:pt x="135" y="391"/>
                  </a:lnTo>
                  <a:cubicBezTo>
                    <a:pt x="149" y="391"/>
                    <a:pt x="161" y="379"/>
                    <a:pt x="161" y="365"/>
                  </a:cubicBezTo>
                  <a:lnTo>
                    <a:pt x="161" y="126"/>
                  </a:lnTo>
                  <a:cubicBezTo>
                    <a:pt x="161" y="111"/>
                    <a:pt x="149" y="100"/>
                    <a:pt x="135" y="100"/>
                  </a:cubicBezTo>
                  <a:lnTo>
                    <a:pt x="126" y="100"/>
                  </a:lnTo>
                  <a:close/>
                  <a:moveTo>
                    <a:pt x="135" y="491"/>
                  </a:moveTo>
                  <a:lnTo>
                    <a:pt x="126" y="491"/>
                  </a:lnTo>
                  <a:cubicBezTo>
                    <a:pt x="56" y="491"/>
                    <a:pt x="0" y="434"/>
                    <a:pt x="0" y="365"/>
                  </a:cubicBezTo>
                  <a:lnTo>
                    <a:pt x="0" y="126"/>
                  </a:lnTo>
                  <a:cubicBezTo>
                    <a:pt x="0" y="56"/>
                    <a:pt x="56" y="0"/>
                    <a:pt x="126" y="0"/>
                  </a:cubicBezTo>
                  <a:lnTo>
                    <a:pt x="135" y="0"/>
                  </a:lnTo>
                  <a:cubicBezTo>
                    <a:pt x="204" y="0"/>
                    <a:pt x="261" y="56"/>
                    <a:pt x="261" y="126"/>
                  </a:cubicBezTo>
                  <a:lnTo>
                    <a:pt x="261" y="365"/>
                  </a:lnTo>
                  <a:cubicBezTo>
                    <a:pt x="261" y="434"/>
                    <a:pt x="204" y="491"/>
                    <a:pt x="135" y="4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1013">
              <a:extLst>
                <a:ext uri="{FF2B5EF4-FFF2-40B4-BE49-F238E27FC236}">
                  <a16:creationId xmlns:a16="http://schemas.microsoft.com/office/drawing/2014/main" id="{83B4E6B4-AF63-47A6-85B5-F59648C7B2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0326" y="6575425"/>
              <a:ext cx="15875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1014">
              <a:extLst>
                <a:ext uri="{FF2B5EF4-FFF2-40B4-BE49-F238E27FC236}">
                  <a16:creationId xmlns:a16="http://schemas.microsoft.com/office/drawing/2014/main" id="{1C451B87-CD17-4AFD-B945-687268E05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1401" y="6492875"/>
              <a:ext cx="304800" cy="242888"/>
            </a:xfrm>
            <a:custGeom>
              <a:avLst/>
              <a:gdLst>
                <a:gd name="T0" fmla="*/ 192 w 192"/>
                <a:gd name="T1" fmla="*/ 153 h 153"/>
                <a:gd name="T2" fmla="*/ 0 w 192"/>
                <a:gd name="T3" fmla="*/ 153 h 153"/>
                <a:gd name="T4" fmla="*/ 0 w 192"/>
                <a:gd name="T5" fmla="*/ 0 h 153"/>
                <a:gd name="T6" fmla="*/ 192 w 192"/>
                <a:gd name="T7" fmla="*/ 0 h 153"/>
                <a:gd name="T8" fmla="*/ 192 w 192"/>
                <a:gd name="T9" fmla="*/ 45 h 153"/>
                <a:gd name="T10" fmla="*/ 182 w 192"/>
                <a:gd name="T11" fmla="*/ 45 h 153"/>
                <a:gd name="T12" fmla="*/ 182 w 192"/>
                <a:gd name="T13" fmla="*/ 10 h 153"/>
                <a:gd name="T14" fmla="*/ 11 w 192"/>
                <a:gd name="T15" fmla="*/ 10 h 153"/>
                <a:gd name="T16" fmla="*/ 11 w 192"/>
                <a:gd name="T17" fmla="*/ 142 h 153"/>
                <a:gd name="T18" fmla="*/ 182 w 192"/>
                <a:gd name="T19" fmla="*/ 142 h 153"/>
                <a:gd name="T20" fmla="*/ 182 w 192"/>
                <a:gd name="T21" fmla="*/ 100 h 153"/>
                <a:gd name="T22" fmla="*/ 192 w 192"/>
                <a:gd name="T23" fmla="*/ 100 h 153"/>
                <a:gd name="T24" fmla="*/ 192 w 192"/>
                <a:gd name="T25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2" h="153">
                  <a:moveTo>
                    <a:pt x="192" y="153"/>
                  </a:moveTo>
                  <a:lnTo>
                    <a:pt x="0" y="153"/>
                  </a:lnTo>
                  <a:lnTo>
                    <a:pt x="0" y="0"/>
                  </a:lnTo>
                  <a:lnTo>
                    <a:pt x="192" y="0"/>
                  </a:lnTo>
                  <a:lnTo>
                    <a:pt x="192" y="45"/>
                  </a:lnTo>
                  <a:lnTo>
                    <a:pt x="182" y="45"/>
                  </a:lnTo>
                  <a:lnTo>
                    <a:pt x="182" y="10"/>
                  </a:lnTo>
                  <a:lnTo>
                    <a:pt x="11" y="10"/>
                  </a:lnTo>
                  <a:lnTo>
                    <a:pt x="11" y="142"/>
                  </a:lnTo>
                  <a:lnTo>
                    <a:pt x="182" y="142"/>
                  </a:lnTo>
                  <a:lnTo>
                    <a:pt x="182" y="100"/>
                  </a:lnTo>
                  <a:lnTo>
                    <a:pt x="192" y="100"/>
                  </a:lnTo>
                  <a:lnTo>
                    <a:pt x="192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1015">
              <a:extLst>
                <a:ext uri="{FF2B5EF4-FFF2-40B4-BE49-F238E27FC236}">
                  <a16:creationId xmlns:a16="http://schemas.microsoft.com/office/drawing/2014/main" id="{D1C294A3-FF65-4644-81F2-DA066D2DB1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0326" y="6619875"/>
              <a:ext cx="1587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1016">
              <a:extLst>
                <a:ext uri="{FF2B5EF4-FFF2-40B4-BE49-F238E27FC236}">
                  <a16:creationId xmlns:a16="http://schemas.microsoft.com/office/drawing/2014/main" id="{F1222C56-90C5-4DE2-9D77-22517EA22A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51" y="6542088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Rectangle 1017">
              <a:extLst>
                <a:ext uri="{FF2B5EF4-FFF2-40B4-BE49-F238E27FC236}">
                  <a16:creationId xmlns:a16="http://schemas.microsoft.com/office/drawing/2014/main" id="{C35FD5F3-F8EE-465A-A945-A93C90F76A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1738" y="6542088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Rectangle 1018">
              <a:extLst>
                <a:ext uri="{FF2B5EF4-FFF2-40B4-BE49-F238E27FC236}">
                  <a16:creationId xmlns:a16="http://schemas.microsoft.com/office/drawing/2014/main" id="{2EAAAEA8-47BE-4732-AE60-373C609661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51" y="6586538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Rectangle 1019">
              <a:extLst>
                <a:ext uri="{FF2B5EF4-FFF2-40B4-BE49-F238E27FC236}">
                  <a16:creationId xmlns:a16="http://schemas.microsoft.com/office/drawing/2014/main" id="{F4343011-D03F-482D-96B5-7E8D38F154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1738" y="6586538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Rectangle 1020">
              <a:extLst>
                <a:ext uri="{FF2B5EF4-FFF2-40B4-BE49-F238E27FC236}">
                  <a16:creationId xmlns:a16="http://schemas.microsoft.com/office/drawing/2014/main" id="{86E48CFE-5350-465F-8F04-FF8FA3148D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3001" y="6586538"/>
              <a:ext cx="4445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Rectangle 1021">
              <a:extLst>
                <a:ext uri="{FF2B5EF4-FFF2-40B4-BE49-F238E27FC236}">
                  <a16:creationId xmlns:a16="http://schemas.microsoft.com/office/drawing/2014/main" id="{5AACF17F-549C-40A1-9739-AC0B504E5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1088" y="6586538"/>
              <a:ext cx="4762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1022">
              <a:extLst>
                <a:ext uri="{FF2B5EF4-FFF2-40B4-BE49-F238E27FC236}">
                  <a16:creationId xmlns:a16="http://schemas.microsoft.com/office/drawing/2014/main" id="{3612679B-313A-4FFB-AE07-49CE36C8E7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51" y="6632575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Rectangle 1023">
              <a:extLst>
                <a:ext uri="{FF2B5EF4-FFF2-40B4-BE49-F238E27FC236}">
                  <a16:creationId xmlns:a16="http://schemas.microsoft.com/office/drawing/2014/main" id="{17F665E1-C425-40B1-ACD9-7C2F9B7FC6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1738" y="6632575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Rectangle 1024">
              <a:extLst>
                <a:ext uri="{FF2B5EF4-FFF2-40B4-BE49-F238E27FC236}">
                  <a16:creationId xmlns:a16="http://schemas.microsoft.com/office/drawing/2014/main" id="{05A3C999-A323-40DB-9703-8B0138F8DE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3001" y="6632575"/>
              <a:ext cx="4445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Rectangle 1025">
              <a:extLst>
                <a:ext uri="{FF2B5EF4-FFF2-40B4-BE49-F238E27FC236}">
                  <a16:creationId xmlns:a16="http://schemas.microsoft.com/office/drawing/2014/main" id="{A6826759-6292-4B04-B572-9C9803BDCD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1088" y="6632575"/>
              <a:ext cx="4762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Rectangle 1026">
              <a:extLst>
                <a:ext uri="{FF2B5EF4-FFF2-40B4-BE49-F238E27FC236}">
                  <a16:creationId xmlns:a16="http://schemas.microsoft.com/office/drawing/2014/main" id="{64CAAD3E-A8B9-4696-9AA4-67CD0C8C85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3651" y="6678613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Rectangle 1027">
              <a:extLst>
                <a:ext uri="{FF2B5EF4-FFF2-40B4-BE49-F238E27FC236}">
                  <a16:creationId xmlns:a16="http://schemas.microsoft.com/office/drawing/2014/main" id="{C88EB422-6AC7-48CC-BE75-BE62D0F367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1738" y="6678613"/>
              <a:ext cx="4603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1028">
              <a:extLst>
                <a:ext uri="{FF2B5EF4-FFF2-40B4-BE49-F238E27FC236}">
                  <a16:creationId xmlns:a16="http://schemas.microsoft.com/office/drawing/2014/main" id="{525087FF-4B05-4C2C-B22D-E036D2D905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3001" y="6678613"/>
              <a:ext cx="4445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Rectangle 1029">
              <a:extLst>
                <a:ext uri="{FF2B5EF4-FFF2-40B4-BE49-F238E27FC236}">
                  <a16:creationId xmlns:a16="http://schemas.microsoft.com/office/drawing/2014/main" id="{33B34A8C-D356-473B-B1DF-E4B290F6BB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1088" y="6678613"/>
              <a:ext cx="4762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030">
              <a:extLst>
                <a:ext uri="{FF2B5EF4-FFF2-40B4-BE49-F238E27FC236}">
                  <a16:creationId xmlns:a16="http://schemas.microsoft.com/office/drawing/2014/main" id="{26A1F108-1A96-4C5F-B3AA-A99DA6990B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9188" y="6515100"/>
              <a:ext cx="71438" cy="63500"/>
            </a:xfrm>
            <a:custGeom>
              <a:avLst/>
              <a:gdLst>
                <a:gd name="T0" fmla="*/ 100 w 423"/>
                <a:gd name="T1" fmla="*/ 276 h 376"/>
                <a:gd name="T2" fmla="*/ 323 w 423"/>
                <a:gd name="T3" fmla="*/ 276 h 376"/>
                <a:gd name="T4" fmla="*/ 323 w 423"/>
                <a:gd name="T5" fmla="*/ 100 h 376"/>
                <a:gd name="T6" fmla="*/ 100 w 423"/>
                <a:gd name="T7" fmla="*/ 100 h 376"/>
                <a:gd name="T8" fmla="*/ 100 w 423"/>
                <a:gd name="T9" fmla="*/ 276 h 376"/>
                <a:gd name="T10" fmla="*/ 423 w 423"/>
                <a:gd name="T11" fmla="*/ 376 h 376"/>
                <a:gd name="T12" fmla="*/ 0 w 423"/>
                <a:gd name="T13" fmla="*/ 376 h 376"/>
                <a:gd name="T14" fmla="*/ 0 w 423"/>
                <a:gd name="T15" fmla="*/ 0 h 376"/>
                <a:gd name="T16" fmla="*/ 423 w 423"/>
                <a:gd name="T17" fmla="*/ 0 h 376"/>
                <a:gd name="T18" fmla="*/ 423 w 423"/>
                <a:gd name="T19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3" h="376">
                  <a:moveTo>
                    <a:pt x="100" y="276"/>
                  </a:moveTo>
                  <a:lnTo>
                    <a:pt x="323" y="276"/>
                  </a:lnTo>
                  <a:lnTo>
                    <a:pt x="323" y="100"/>
                  </a:lnTo>
                  <a:lnTo>
                    <a:pt x="100" y="100"/>
                  </a:lnTo>
                  <a:lnTo>
                    <a:pt x="100" y="276"/>
                  </a:lnTo>
                  <a:close/>
                  <a:moveTo>
                    <a:pt x="423" y="376"/>
                  </a:moveTo>
                  <a:lnTo>
                    <a:pt x="0" y="376"/>
                  </a:lnTo>
                  <a:lnTo>
                    <a:pt x="0" y="0"/>
                  </a:lnTo>
                  <a:lnTo>
                    <a:pt x="423" y="0"/>
                  </a:lnTo>
                  <a:lnTo>
                    <a:pt x="423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49216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D4255F1-2953-4143-9C73-C29D2BF9B7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9035" y="1841338"/>
            <a:ext cx="10853927" cy="3192301"/>
          </a:xfrm>
        </p:spPr>
        <p:txBody>
          <a:bodyPr>
            <a:normAutofit/>
          </a:bodyPr>
          <a:lstStyle/>
          <a:p>
            <a:pPr marL="0" indent="0" algn="ctr">
              <a:lnSpc>
                <a:spcPct val="115000"/>
              </a:lnSpc>
              <a:spcAft>
                <a:spcPts val="800"/>
              </a:spcAft>
              <a:buNone/>
            </a:pPr>
            <a:r>
              <a:rPr lang="es-ES" sz="3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¡GRACIAS!</a:t>
            </a:r>
          </a:p>
          <a:p>
            <a:pPr marL="0" indent="0" algn="ctr">
              <a:lnSpc>
                <a:spcPct val="115000"/>
              </a:lnSpc>
              <a:spcAft>
                <a:spcPts val="800"/>
              </a:spcAft>
              <a:buNone/>
            </a:pPr>
            <a:endParaRPr lang="es-ES" sz="32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lnSpc>
                <a:spcPct val="115000"/>
              </a:lnSpc>
              <a:spcAft>
                <a:spcPts val="800"/>
              </a:spcAft>
              <a:buNone/>
            </a:pPr>
            <a:r>
              <a:rPr lang="es-ES" sz="3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PREGUNTAS?</a:t>
            </a:r>
          </a:p>
          <a:p>
            <a:pPr marL="0" indent="0" algn="just">
              <a:lnSpc>
                <a:spcPct val="115000"/>
              </a:lnSpc>
              <a:spcAft>
                <a:spcPts val="800"/>
              </a:spcAft>
              <a:buNone/>
            </a:pPr>
            <a:endParaRPr lang="es-ES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9" name="Imagen 9" descr="Logo de Fundación ONCE&#10;&#10;Logo de Fundación ONCE">
            <a:extLst>
              <a:ext uri="{FF2B5EF4-FFF2-40B4-BE49-F238E27FC236}">
                <a16:creationId xmlns:a16="http://schemas.microsoft.com/office/drawing/2014/main" id="{1B5D3D80-648C-4778-8ECA-D8716831EE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E56E849-7108-4FAB-9869-7EF86C8D31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7851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F8C7363-EAA7-4EEB-BD66-54257565556E}"/>
              </a:ext>
            </a:extLst>
          </p:cNvPr>
          <p:cNvGrpSpPr/>
          <p:nvPr/>
        </p:nvGrpSpPr>
        <p:grpSpPr>
          <a:xfrm>
            <a:off x="719958" y="1636382"/>
            <a:ext cx="10752084" cy="1790512"/>
            <a:chOff x="719958" y="1520568"/>
            <a:chExt cx="10752084" cy="1969567"/>
          </a:xfrm>
        </p:grpSpPr>
        <p:sp>
          <p:nvSpPr>
            <p:cNvPr id="5" name="Rectangle 4"/>
            <p:cNvSpPr/>
            <p:nvPr/>
          </p:nvSpPr>
          <p:spPr>
            <a:xfrm>
              <a:off x="1897040" y="1520571"/>
              <a:ext cx="9575002" cy="19695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>
              <a:normAutofit/>
            </a:bodyPr>
            <a:lstStyle/>
            <a:p>
              <a:pPr marL="93663"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s-ES" sz="20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CONVOCATORIA DE AYUDAS ECONÓMICAS PARA LA SELECCIÓN DE OPERACIONES PARA LA REALIZACIÓN DE </a:t>
              </a:r>
              <a:r>
                <a:rPr kumimoji="0" lang="es-E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ITINERARIOS PERSONALIZADOS DE EMPLEO </a:t>
              </a:r>
              <a:r>
                <a:rPr kumimoji="0" lang="es-ES" sz="20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PARA PERSONAS CON DISCAPACIDAD AÑO 2022-2023 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719958" y="1520568"/>
              <a:ext cx="1177082" cy="1969564"/>
            </a:xfrm>
            <a:prstGeom prst="rect">
              <a:avLst/>
            </a:prstGeom>
            <a:solidFill>
              <a:srgbClr val="C00000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7" name="Isosceles Triangle 6"/>
            <p:cNvSpPr>
              <a:spLocks noChangeAspect="1"/>
            </p:cNvSpPr>
            <p:nvPr/>
          </p:nvSpPr>
          <p:spPr>
            <a:xfrm rot="5400000">
              <a:off x="1812183" y="2371391"/>
              <a:ext cx="476839" cy="293930"/>
            </a:xfrm>
            <a:prstGeom prst="triangle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600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8DDFFF0-44E8-4A38-883E-5C221BB7C8A1}"/>
              </a:ext>
            </a:extLst>
          </p:cNvPr>
          <p:cNvGrpSpPr/>
          <p:nvPr/>
        </p:nvGrpSpPr>
        <p:grpSpPr>
          <a:xfrm>
            <a:off x="719958" y="3783920"/>
            <a:ext cx="10753082" cy="1790508"/>
            <a:chOff x="719958" y="3197948"/>
            <a:chExt cx="10753082" cy="1969559"/>
          </a:xfrm>
        </p:grpSpPr>
        <p:sp>
          <p:nvSpPr>
            <p:cNvPr id="13" name="Rectangle 12"/>
            <p:cNvSpPr/>
            <p:nvPr/>
          </p:nvSpPr>
          <p:spPr>
            <a:xfrm>
              <a:off x="719958" y="3197948"/>
              <a:ext cx="1177082" cy="1969559"/>
            </a:xfrm>
            <a:prstGeom prst="rect">
              <a:avLst/>
            </a:prstGeom>
            <a:solidFill>
              <a:srgbClr val="0070C0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1897040" y="3197948"/>
              <a:ext cx="9576000" cy="196955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>
              <a:normAutofit/>
            </a:bodyPr>
            <a:lstStyle/>
            <a:p>
              <a:pPr marL="177800"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s-ES" sz="20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CONVOCATORIA DE AYUDAS ECONÓMICAS PARA LA SELECCIÓN DE OPERACIONES PARA LA REALIZACIÓN DE </a:t>
              </a:r>
              <a:r>
                <a:rPr kumimoji="0" lang="es-E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ACCIONES FORMATIVAS PARA EL EMPLEO </a:t>
              </a:r>
              <a:r>
                <a:rPr kumimoji="0" lang="es-ES" sz="20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PARA PERSONAS CON DISCAPACIDAD AÑO 2022-2023</a:t>
              </a:r>
            </a:p>
          </p:txBody>
        </p:sp>
        <p:sp>
          <p:nvSpPr>
            <p:cNvPr id="40" name="Isosceles Triangle 39"/>
            <p:cNvSpPr>
              <a:spLocks noChangeAspect="1"/>
            </p:cNvSpPr>
            <p:nvPr/>
          </p:nvSpPr>
          <p:spPr>
            <a:xfrm rot="5400000">
              <a:off x="1812183" y="4059029"/>
              <a:ext cx="476839" cy="293930"/>
            </a:xfrm>
            <a:prstGeom prst="triangl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600" dirty="0"/>
            </a:p>
          </p:txBody>
        </p:sp>
      </p:grpSp>
      <p:sp>
        <p:nvSpPr>
          <p:cNvPr id="4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cs typeface="Arial" panose="020B0604020202020204" pitchFamily="34" charset="0"/>
              </a:rPr>
              <a:t>Dos convocatorias</a:t>
            </a:r>
          </a:p>
        </p:txBody>
      </p:sp>
      <p:grpSp>
        <p:nvGrpSpPr>
          <p:cNvPr id="121" name="Class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1F89708-8FF5-4E78-97BA-C02AF386A9CF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918013" y="4399698"/>
            <a:ext cx="749442" cy="596900"/>
            <a:chOff x="4173538" y="158750"/>
            <a:chExt cx="896938" cy="714375"/>
          </a:xfrm>
          <a:noFill/>
        </p:grpSpPr>
        <p:sp>
          <p:nvSpPr>
            <p:cNvPr id="122" name="Oval 45">
              <a:extLst>
                <a:ext uri="{FF2B5EF4-FFF2-40B4-BE49-F238E27FC236}">
                  <a16:creationId xmlns:a16="http://schemas.microsoft.com/office/drawing/2014/main" id="{EEACC9DD-A333-4281-80B9-8531F56B8C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8313" y="184150"/>
              <a:ext cx="300038" cy="300038"/>
            </a:xfrm>
            <a:prstGeom prst="ellipse">
              <a:avLst/>
            </a:prstGeom>
            <a:grpFill/>
            <a:ln w="19050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46">
              <a:extLst>
                <a:ext uri="{FF2B5EF4-FFF2-40B4-BE49-F238E27FC236}">
                  <a16:creationId xmlns:a16="http://schemas.microsoft.com/office/drawing/2014/main" id="{72C8CC5D-2EC4-44FD-A3F7-A604FCB05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3538" y="322262"/>
              <a:ext cx="838200" cy="550863"/>
            </a:xfrm>
            <a:custGeom>
              <a:avLst/>
              <a:gdLst>
                <a:gd name="T0" fmla="*/ 145 w 1100"/>
                <a:gd name="T1" fmla="*/ 536 h 723"/>
                <a:gd name="T2" fmla="*/ 184 w 1100"/>
                <a:gd name="T3" fmla="*/ 536 h 723"/>
                <a:gd name="T4" fmla="*/ 194 w 1100"/>
                <a:gd name="T5" fmla="*/ 723 h 723"/>
                <a:gd name="T6" fmla="*/ 583 w 1100"/>
                <a:gd name="T7" fmla="*/ 723 h 723"/>
                <a:gd name="T8" fmla="*/ 583 w 1100"/>
                <a:gd name="T9" fmla="*/ 494 h 723"/>
                <a:gd name="T10" fmla="*/ 1046 w 1100"/>
                <a:gd name="T11" fmla="*/ 263 h 723"/>
                <a:gd name="T12" fmla="*/ 1061 w 1100"/>
                <a:gd name="T13" fmla="*/ 120 h 723"/>
                <a:gd name="T14" fmla="*/ 1085 w 1100"/>
                <a:gd name="T15" fmla="*/ 57 h 723"/>
                <a:gd name="T16" fmla="*/ 1063 w 1100"/>
                <a:gd name="T17" fmla="*/ 8 h 723"/>
                <a:gd name="T18" fmla="*/ 1015 w 1100"/>
                <a:gd name="T19" fmla="*/ 30 h 723"/>
                <a:gd name="T20" fmla="*/ 992 w 1100"/>
                <a:gd name="T21" fmla="*/ 88 h 723"/>
                <a:gd name="T22" fmla="*/ 954 w 1100"/>
                <a:gd name="T23" fmla="*/ 97 h 723"/>
                <a:gd name="T24" fmla="*/ 315 w 1100"/>
                <a:gd name="T25" fmla="*/ 268 h 723"/>
                <a:gd name="T26" fmla="*/ 0 w 1100"/>
                <a:gd name="T27" fmla="*/ 538 h 723"/>
                <a:gd name="T28" fmla="*/ 0 w 1100"/>
                <a:gd name="T29" fmla="*/ 723 h 723"/>
                <a:gd name="T30" fmla="*/ 145 w 1100"/>
                <a:gd name="T31" fmla="*/ 723 h 723"/>
                <a:gd name="T32" fmla="*/ 145 w 1100"/>
                <a:gd name="T33" fmla="*/ 536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0" h="723">
                  <a:moveTo>
                    <a:pt x="145" y="536"/>
                  </a:moveTo>
                  <a:lnTo>
                    <a:pt x="184" y="536"/>
                  </a:lnTo>
                  <a:lnTo>
                    <a:pt x="194" y="723"/>
                  </a:lnTo>
                  <a:lnTo>
                    <a:pt x="583" y="723"/>
                  </a:lnTo>
                  <a:lnTo>
                    <a:pt x="583" y="494"/>
                  </a:lnTo>
                  <a:cubicBezTo>
                    <a:pt x="772" y="432"/>
                    <a:pt x="939" y="344"/>
                    <a:pt x="1046" y="263"/>
                  </a:cubicBezTo>
                  <a:cubicBezTo>
                    <a:pt x="1091" y="229"/>
                    <a:pt x="1100" y="166"/>
                    <a:pt x="1061" y="120"/>
                  </a:cubicBezTo>
                  <a:lnTo>
                    <a:pt x="1085" y="57"/>
                  </a:lnTo>
                  <a:cubicBezTo>
                    <a:pt x="1093" y="37"/>
                    <a:pt x="1083" y="15"/>
                    <a:pt x="1063" y="8"/>
                  </a:cubicBezTo>
                  <a:cubicBezTo>
                    <a:pt x="1044" y="0"/>
                    <a:pt x="1022" y="10"/>
                    <a:pt x="1015" y="30"/>
                  </a:cubicBezTo>
                  <a:lnTo>
                    <a:pt x="992" y="88"/>
                  </a:lnTo>
                  <a:cubicBezTo>
                    <a:pt x="980" y="89"/>
                    <a:pt x="966" y="90"/>
                    <a:pt x="954" y="97"/>
                  </a:cubicBezTo>
                  <a:cubicBezTo>
                    <a:pt x="624" y="282"/>
                    <a:pt x="513" y="268"/>
                    <a:pt x="315" y="268"/>
                  </a:cubicBezTo>
                  <a:cubicBezTo>
                    <a:pt x="132" y="268"/>
                    <a:pt x="0" y="339"/>
                    <a:pt x="0" y="538"/>
                  </a:cubicBezTo>
                  <a:lnTo>
                    <a:pt x="0" y="723"/>
                  </a:lnTo>
                  <a:lnTo>
                    <a:pt x="145" y="723"/>
                  </a:lnTo>
                  <a:lnTo>
                    <a:pt x="145" y="536"/>
                  </a:lnTo>
                  <a:close/>
                </a:path>
              </a:pathLst>
            </a:custGeom>
            <a:grpFill/>
            <a:ln w="19050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Rectangle 47">
              <a:extLst>
                <a:ext uri="{FF2B5EF4-FFF2-40B4-BE49-F238E27FC236}">
                  <a16:creationId xmlns:a16="http://schemas.microsoft.com/office/drawing/2014/main" id="{0D53116A-DCA6-457D-A2B5-ED5FBE8D19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8838" y="158750"/>
              <a:ext cx="401638" cy="41275"/>
            </a:xfrm>
            <a:prstGeom prst="rect">
              <a:avLst/>
            </a:prstGeom>
            <a:grpFill/>
            <a:ln w="19050">
              <a:solidFill>
                <a:schemeClr val="l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Rectangle 48">
              <a:extLst>
                <a:ext uri="{FF2B5EF4-FFF2-40B4-BE49-F238E27FC236}">
                  <a16:creationId xmlns:a16="http://schemas.microsoft.com/office/drawing/2014/main" id="{B935A575-4260-496E-B90E-4D84EA2DC0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8838" y="266700"/>
              <a:ext cx="238125" cy="41275"/>
            </a:xfrm>
            <a:prstGeom prst="rect">
              <a:avLst/>
            </a:prstGeom>
            <a:grpFill/>
            <a:ln w="19050">
              <a:solidFill>
                <a:schemeClr val="l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2" name="Rout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DDF843B-2E27-400F-9E90-F6F07F6FE42F}"/>
              </a:ext>
            </a:extLst>
          </p:cNvPr>
          <p:cNvGrpSpPr>
            <a:grpSpLocks noChangeAspect="1"/>
          </p:cNvGrpSpPr>
          <p:nvPr/>
        </p:nvGrpSpPr>
        <p:grpSpPr>
          <a:xfrm>
            <a:off x="918013" y="2252236"/>
            <a:ext cx="749738" cy="558800"/>
            <a:chOff x="5761831" y="4112419"/>
            <a:chExt cx="679451" cy="506413"/>
          </a:xfrm>
        </p:grpSpPr>
        <p:sp>
          <p:nvSpPr>
            <p:cNvPr id="133" name="Freeform 1824">
              <a:extLst>
                <a:ext uri="{FF2B5EF4-FFF2-40B4-BE49-F238E27FC236}">
                  <a16:creationId xmlns:a16="http://schemas.microsoft.com/office/drawing/2014/main" id="{9AF8A6DA-A9D1-4945-9DF3-BE1B3F394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1315" y="4429919"/>
              <a:ext cx="328193" cy="182563"/>
            </a:xfrm>
            <a:custGeom>
              <a:avLst/>
              <a:gdLst>
                <a:gd name="T0" fmla="*/ 48 w 402"/>
                <a:gd name="T1" fmla="*/ 0 h 164"/>
                <a:gd name="T2" fmla="*/ 173 w 402"/>
                <a:gd name="T3" fmla="*/ 0 h 164"/>
                <a:gd name="T4" fmla="*/ 223 w 402"/>
                <a:gd name="T5" fmla="*/ 34 h 164"/>
                <a:gd name="T6" fmla="*/ 173 w 402"/>
                <a:gd name="T7" fmla="*/ 69 h 164"/>
                <a:gd name="T8" fmla="*/ 68 w 402"/>
                <a:gd name="T9" fmla="*/ 69 h 164"/>
                <a:gd name="T10" fmla="*/ 0 w 402"/>
                <a:gd name="T11" fmla="*/ 116 h 164"/>
                <a:gd name="T12" fmla="*/ 68 w 402"/>
                <a:gd name="T13" fmla="*/ 164 h 164"/>
                <a:gd name="T14" fmla="*/ 402 w 402"/>
                <a:gd name="T15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2" h="164">
                  <a:moveTo>
                    <a:pt x="48" y="0"/>
                  </a:moveTo>
                  <a:lnTo>
                    <a:pt x="173" y="0"/>
                  </a:lnTo>
                  <a:cubicBezTo>
                    <a:pt x="202" y="0"/>
                    <a:pt x="223" y="15"/>
                    <a:pt x="223" y="34"/>
                  </a:cubicBezTo>
                  <a:cubicBezTo>
                    <a:pt x="223" y="53"/>
                    <a:pt x="202" y="69"/>
                    <a:pt x="173" y="69"/>
                  </a:cubicBezTo>
                  <a:lnTo>
                    <a:pt x="68" y="69"/>
                  </a:lnTo>
                  <a:cubicBezTo>
                    <a:pt x="27" y="69"/>
                    <a:pt x="0" y="90"/>
                    <a:pt x="0" y="116"/>
                  </a:cubicBezTo>
                  <a:cubicBezTo>
                    <a:pt x="0" y="143"/>
                    <a:pt x="27" y="164"/>
                    <a:pt x="68" y="164"/>
                  </a:cubicBezTo>
                  <a:lnTo>
                    <a:pt x="402" y="164"/>
                  </a:lnTo>
                </a:path>
              </a:pathLst>
            </a:custGeom>
            <a:noFill/>
            <a:ln w="20638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1828">
              <a:extLst>
                <a:ext uri="{FF2B5EF4-FFF2-40B4-BE49-F238E27FC236}">
                  <a16:creationId xmlns:a16="http://schemas.microsoft.com/office/drawing/2014/main" id="{B7430BC3-D286-4742-B27F-EE864E236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7269" y="4112419"/>
              <a:ext cx="354013" cy="506413"/>
            </a:xfrm>
            <a:custGeom>
              <a:avLst/>
              <a:gdLst>
                <a:gd name="T0" fmla="*/ 317 w 317"/>
                <a:gd name="T1" fmla="*/ 165 h 453"/>
                <a:gd name="T2" fmla="*/ 143 w 317"/>
                <a:gd name="T3" fmla="*/ 10 h 453"/>
                <a:gd name="T4" fmla="*/ 6 w 317"/>
                <a:gd name="T5" fmla="*/ 140 h 453"/>
                <a:gd name="T6" fmla="*/ 25 w 317"/>
                <a:gd name="T7" fmla="*/ 243 h 453"/>
                <a:gd name="T8" fmla="*/ 25 w 317"/>
                <a:gd name="T9" fmla="*/ 243 h 453"/>
                <a:gd name="T10" fmla="*/ 135 w 317"/>
                <a:gd name="T11" fmla="*/ 433 h 453"/>
                <a:gd name="T12" fmla="*/ 186 w 317"/>
                <a:gd name="T13" fmla="*/ 433 h 453"/>
                <a:gd name="T14" fmla="*/ 296 w 317"/>
                <a:gd name="T15" fmla="*/ 243 h 453"/>
                <a:gd name="T16" fmla="*/ 296 w 317"/>
                <a:gd name="T17" fmla="*/ 243 h 453"/>
                <a:gd name="T18" fmla="*/ 317 w 317"/>
                <a:gd name="T19" fmla="*/ 165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7" h="453">
                  <a:moveTo>
                    <a:pt x="317" y="165"/>
                  </a:moveTo>
                  <a:cubicBezTo>
                    <a:pt x="317" y="73"/>
                    <a:pt x="237" y="0"/>
                    <a:pt x="143" y="10"/>
                  </a:cubicBezTo>
                  <a:cubicBezTo>
                    <a:pt x="74" y="17"/>
                    <a:pt x="17" y="72"/>
                    <a:pt x="6" y="140"/>
                  </a:cubicBezTo>
                  <a:cubicBezTo>
                    <a:pt x="0" y="178"/>
                    <a:pt x="8" y="214"/>
                    <a:pt x="25" y="243"/>
                  </a:cubicBezTo>
                  <a:lnTo>
                    <a:pt x="25" y="243"/>
                  </a:lnTo>
                  <a:lnTo>
                    <a:pt x="135" y="433"/>
                  </a:lnTo>
                  <a:cubicBezTo>
                    <a:pt x="146" y="453"/>
                    <a:pt x="175" y="453"/>
                    <a:pt x="186" y="433"/>
                  </a:cubicBezTo>
                  <a:lnTo>
                    <a:pt x="296" y="243"/>
                  </a:lnTo>
                  <a:lnTo>
                    <a:pt x="296" y="243"/>
                  </a:lnTo>
                  <a:cubicBezTo>
                    <a:pt x="309" y="220"/>
                    <a:pt x="317" y="194"/>
                    <a:pt x="317" y="165"/>
                  </a:cubicBezTo>
                  <a:close/>
                </a:path>
              </a:pathLst>
            </a:custGeom>
            <a:noFill/>
            <a:ln w="20638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Oval 1829">
              <a:extLst>
                <a:ext uri="{FF2B5EF4-FFF2-40B4-BE49-F238E27FC236}">
                  <a16:creationId xmlns:a16="http://schemas.microsoft.com/office/drawing/2014/main" id="{05633009-9DB2-4F18-8B58-3669857D86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931" y="4212432"/>
              <a:ext cx="171450" cy="168275"/>
            </a:xfrm>
            <a:prstGeom prst="ellipse">
              <a:avLst/>
            </a:prstGeom>
            <a:noFill/>
            <a:ln w="20638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1833">
              <a:extLst>
                <a:ext uri="{FF2B5EF4-FFF2-40B4-BE49-F238E27FC236}">
                  <a16:creationId xmlns:a16="http://schemas.microsoft.com/office/drawing/2014/main" id="{5E494F7D-60E7-4C36-A974-A9088ACFF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831" y="4114007"/>
              <a:ext cx="220663" cy="319088"/>
            </a:xfrm>
            <a:custGeom>
              <a:avLst/>
              <a:gdLst>
                <a:gd name="T0" fmla="*/ 198 w 198"/>
                <a:gd name="T1" fmla="*/ 104 h 285"/>
                <a:gd name="T2" fmla="*/ 89 w 198"/>
                <a:gd name="T3" fmla="*/ 7 h 285"/>
                <a:gd name="T4" fmla="*/ 3 w 198"/>
                <a:gd name="T5" fmla="*/ 88 h 285"/>
                <a:gd name="T6" fmla="*/ 15 w 198"/>
                <a:gd name="T7" fmla="*/ 153 h 285"/>
                <a:gd name="T8" fmla="*/ 15 w 198"/>
                <a:gd name="T9" fmla="*/ 153 h 285"/>
                <a:gd name="T10" fmla="*/ 84 w 198"/>
                <a:gd name="T11" fmla="*/ 272 h 285"/>
                <a:gd name="T12" fmla="*/ 116 w 198"/>
                <a:gd name="T13" fmla="*/ 272 h 285"/>
                <a:gd name="T14" fmla="*/ 185 w 198"/>
                <a:gd name="T15" fmla="*/ 153 h 285"/>
                <a:gd name="T16" fmla="*/ 185 w 198"/>
                <a:gd name="T17" fmla="*/ 153 h 285"/>
                <a:gd name="T18" fmla="*/ 198 w 198"/>
                <a:gd name="T19" fmla="*/ 104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85">
                  <a:moveTo>
                    <a:pt x="198" y="104"/>
                  </a:moveTo>
                  <a:cubicBezTo>
                    <a:pt x="198" y="46"/>
                    <a:pt x="148" y="0"/>
                    <a:pt x="89" y="7"/>
                  </a:cubicBezTo>
                  <a:cubicBezTo>
                    <a:pt x="46" y="11"/>
                    <a:pt x="10" y="45"/>
                    <a:pt x="3" y="88"/>
                  </a:cubicBezTo>
                  <a:cubicBezTo>
                    <a:pt x="0" y="112"/>
                    <a:pt x="4" y="135"/>
                    <a:pt x="15" y="153"/>
                  </a:cubicBezTo>
                  <a:lnTo>
                    <a:pt x="15" y="153"/>
                  </a:lnTo>
                  <a:lnTo>
                    <a:pt x="84" y="272"/>
                  </a:lnTo>
                  <a:cubicBezTo>
                    <a:pt x="91" y="285"/>
                    <a:pt x="109" y="285"/>
                    <a:pt x="116" y="272"/>
                  </a:cubicBezTo>
                  <a:lnTo>
                    <a:pt x="185" y="153"/>
                  </a:lnTo>
                  <a:lnTo>
                    <a:pt x="185" y="153"/>
                  </a:lnTo>
                  <a:cubicBezTo>
                    <a:pt x="193" y="139"/>
                    <a:pt x="198" y="122"/>
                    <a:pt x="198" y="104"/>
                  </a:cubicBezTo>
                  <a:close/>
                </a:path>
              </a:pathLst>
            </a:custGeom>
            <a:noFill/>
            <a:ln w="20638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Oval 1834">
              <a:extLst>
                <a:ext uri="{FF2B5EF4-FFF2-40B4-BE49-F238E27FC236}">
                  <a16:creationId xmlns:a16="http://schemas.microsoft.com/office/drawing/2014/main" id="{60FE394C-99F8-43B4-B64D-0EC0111AAD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8981" y="4177507"/>
              <a:ext cx="106363" cy="106363"/>
            </a:xfrm>
            <a:prstGeom prst="ellipse">
              <a:avLst/>
            </a:prstGeom>
            <a:noFill/>
            <a:ln w="20638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8" name="Rectangle 137">
            <a:extLst>
              <a:ext uri="{FF2B5EF4-FFF2-40B4-BE49-F238E27FC236}">
                <a16:creationId xmlns:a16="http://schemas.microsoft.com/office/drawing/2014/main" id="{F0FE147E-7B62-41A7-B5F6-F698E5D4FC5A}"/>
              </a:ext>
            </a:extLst>
          </p:cNvPr>
          <p:cNvSpPr/>
          <p:nvPr/>
        </p:nvSpPr>
        <p:spPr>
          <a:xfrm>
            <a:off x="0" y="6568751"/>
            <a:ext cx="1390261" cy="2892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3" name="Imagen 9" descr="Logo de Fundación ONCE&#10;&#10;Logo de Fundación ONCE">
            <a:extLst>
              <a:ext uri="{FF2B5EF4-FFF2-40B4-BE49-F238E27FC236}">
                <a16:creationId xmlns:a16="http://schemas.microsoft.com/office/drawing/2014/main" id="{820A3EA6-BE7D-4CA3-BAC2-CB0545DF4DF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2153E41-EA70-4596-801F-80FF3FA0F1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455940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F8C7363-EAA7-4EEB-BD66-54257565556E}"/>
              </a:ext>
            </a:extLst>
          </p:cNvPr>
          <p:cNvGrpSpPr/>
          <p:nvPr/>
        </p:nvGrpSpPr>
        <p:grpSpPr>
          <a:xfrm>
            <a:off x="719958" y="1636382"/>
            <a:ext cx="10752084" cy="1790512"/>
            <a:chOff x="719958" y="1520568"/>
            <a:chExt cx="10752084" cy="1969567"/>
          </a:xfrm>
        </p:grpSpPr>
        <p:sp>
          <p:nvSpPr>
            <p:cNvPr id="5" name="Rectangle 4"/>
            <p:cNvSpPr/>
            <p:nvPr/>
          </p:nvSpPr>
          <p:spPr>
            <a:xfrm>
              <a:off x="1897040" y="1520571"/>
              <a:ext cx="9575002" cy="19695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>
              <a:normAutofit fontScale="77500" lnSpcReduction="20000"/>
            </a:bodyPr>
            <a:lstStyle/>
            <a:p>
              <a:pPr marL="93663"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tabLst/>
                <a:defRPr/>
              </a:pPr>
              <a:r>
                <a:rPr kumimoji="0" lang="es-E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ITINERARIOS PERSONALIZADOS DE EMPLEO</a:t>
              </a:r>
            </a:p>
            <a:p>
              <a:pPr marL="93663"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s-ES" sz="2000" b="1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JETIVO TEMÁTICO 9:  </a:t>
              </a:r>
              <a:r>
                <a:rPr lang="es-ES" sz="200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mover la inclusión social, luchar contra la pobreza y cualquier forma de discriminación. </a:t>
              </a:r>
            </a:p>
            <a:p>
              <a:pPr marL="93663"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s-ES" sz="2000" b="1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ioridad de Inversión (9.1) </a:t>
              </a:r>
              <a:r>
                <a:rPr lang="es-ES" sz="200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sión activa, en particular con vistas a fomentar la igualdad de oportunidades, la participación activa y la mejora de la empleabilidad de las </a:t>
              </a:r>
              <a:r>
                <a:rPr lang="es-ES" sz="2000" kern="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cD</a:t>
              </a:r>
              <a:r>
                <a:rPr lang="es-ES" sz="200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marL="93663"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s-ES" sz="2000" b="1" kern="0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jetivo Específico 9.1.2  </a:t>
              </a:r>
              <a:r>
                <a:rPr lang="es-ES" sz="200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jorar la inserción sociolaboral de </a:t>
              </a:r>
              <a:r>
                <a:rPr lang="es-ES" sz="2000" kern="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cD</a:t>
              </a:r>
              <a:r>
                <a:rPr lang="es-ES" sz="200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 situación o riesgo de exclusión social, a través de la activación y de </a:t>
              </a:r>
              <a:r>
                <a:rPr lang="es-ES" sz="2000" b="1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inerarios integrados y personalizados de inserción</a:t>
              </a:r>
              <a:r>
                <a:rPr lang="es-ES" sz="200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kumimoji="0" lang="es-ES" sz="20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719958" y="1520568"/>
              <a:ext cx="1177082" cy="1969564"/>
            </a:xfrm>
            <a:prstGeom prst="rect">
              <a:avLst/>
            </a:prstGeom>
            <a:solidFill>
              <a:srgbClr val="C00000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7" name="Isosceles Triangle 6"/>
            <p:cNvSpPr>
              <a:spLocks noChangeAspect="1"/>
            </p:cNvSpPr>
            <p:nvPr/>
          </p:nvSpPr>
          <p:spPr>
            <a:xfrm rot="5400000">
              <a:off x="1812183" y="2371391"/>
              <a:ext cx="476839" cy="293930"/>
            </a:xfrm>
            <a:prstGeom prst="triangle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600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8DDFFF0-44E8-4A38-883E-5C221BB7C8A1}"/>
              </a:ext>
            </a:extLst>
          </p:cNvPr>
          <p:cNvGrpSpPr/>
          <p:nvPr/>
        </p:nvGrpSpPr>
        <p:grpSpPr>
          <a:xfrm>
            <a:off x="719958" y="3783920"/>
            <a:ext cx="10753082" cy="1790508"/>
            <a:chOff x="719958" y="3197948"/>
            <a:chExt cx="10753082" cy="1969559"/>
          </a:xfrm>
        </p:grpSpPr>
        <p:sp>
          <p:nvSpPr>
            <p:cNvPr id="13" name="Rectangle 12"/>
            <p:cNvSpPr/>
            <p:nvPr/>
          </p:nvSpPr>
          <p:spPr>
            <a:xfrm>
              <a:off x="719958" y="3197948"/>
              <a:ext cx="1177082" cy="1969559"/>
            </a:xfrm>
            <a:prstGeom prst="rect">
              <a:avLst/>
            </a:prstGeom>
            <a:solidFill>
              <a:srgbClr val="0070C0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1897040" y="3197948"/>
              <a:ext cx="9576000" cy="196955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rtlCol="0" anchor="ctr">
              <a:normAutofit fontScale="85000" lnSpcReduction="20000"/>
            </a:bodyPr>
            <a:lstStyle/>
            <a:p>
              <a:pPr marL="93663"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tabLst/>
                <a:defRPr/>
              </a:pPr>
              <a:r>
                <a:rPr kumimoji="0" lang="es-E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ACCIONES FORMATIVAS PARA EL EMPLEO</a:t>
              </a:r>
            </a:p>
            <a:p>
              <a:pPr marL="93663"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s-ES" sz="2000" b="1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JETIVO TEMÁTICO 9:  </a:t>
              </a:r>
              <a:r>
                <a:rPr lang="es-ES" sz="200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mover la inclusión social, luchar contra la pobreza y cualquier forma de discriminación. </a:t>
              </a:r>
            </a:p>
            <a:p>
              <a:pPr marL="93663"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s-ES" sz="2000" b="1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ioridad de Inversión (9.1) </a:t>
              </a:r>
              <a:r>
                <a:rPr lang="es-ES" sz="200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sión activa, en particular con vistas a fomentar la igualdad de oportunidades, la participación activa y la mejora de la empleabilidad de las </a:t>
              </a:r>
              <a:r>
                <a:rPr lang="es-ES" sz="2000" kern="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cD</a:t>
              </a:r>
              <a:r>
                <a:rPr lang="es-ES" sz="200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marL="93663"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s-ES" sz="2000" b="1" kern="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jetivo Específico 9.1.2  </a:t>
              </a:r>
              <a:r>
                <a:rPr lang="es-ES" sz="200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mentar la contratación de personas con discapacidad en situación o riesgo de exclusión. </a:t>
              </a:r>
              <a:endParaRPr kumimoji="0" lang="es-ES" sz="20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Isosceles Triangle 39"/>
            <p:cNvSpPr>
              <a:spLocks noChangeAspect="1"/>
            </p:cNvSpPr>
            <p:nvPr/>
          </p:nvSpPr>
          <p:spPr>
            <a:xfrm rot="5400000">
              <a:off x="1812183" y="4059029"/>
              <a:ext cx="476839" cy="293930"/>
            </a:xfrm>
            <a:prstGeom prst="triangl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600" dirty="0"/>
            </a:p>
          </p:txBody>
        </p:sp>
      </p:grpSp>
      <p:sp>
        <p:nvSpPr>
          <p:cNvPr id="4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cs typeface="Arial" panose="020B0604020202020204" pitchFamily="34" charset="0"/>
              </a:rPr>
              <a:t>Objetivos</a:t>
            </a:r>
          </a:p>
        </p:txBody>
      </p:sp>
      <p:grpSp>
        <p:nvGrpSpPr>
          <p:cNvPr id="121" name="Class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1F89708-8FF5-4E78-97BA-C02AF386A9CF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918013" y="4399698"/>
            <a:ext cx="749442" cy="596900"/>
            <a:chOff x="4173538" y="158750"/>
            <a:chExt cx="896938" cy="714375"/>
          </a:xfrm>
          <a:noFill/>
        </p:grpSpPr>
        <p:sp>
          <p:nvSpPr>
            <p:cNvPr id="122" name="Oval 45">
              <a:extLst>
                <a:ext uri="{FF2B5EF4-FFF2-40B4-BE49-F238E27FC236}">
                  <a16:creationId xmlns:a16="http://schemas.microsoft.com/office/drawing/2014/main" id="{EEACC9DD-A333-4281-80B9-8531F56B8C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8313" y="184150"/>
              <a:ext cx="300038" cy="300038"/>
            </a:xfrm>
            <a:prstGeom prst="ellipse">
              <a:avLst/>
            </a:prstGeom>
            <a:grpFill/>
            <a:ln w="19050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46">
              <a:extLst>
                <a:ext uri="{FF2B5EF4-FFF2-40B4-BE49-F238E27FC236}">
                  <a16:creationId xmlns:a16="http://schemas.microsoft.com/office/drawing/2014/main" id="{72C8CC5D-2EC4-44FD-A3F7-A604FCB05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3538" y="322262"/>
              <a:ext cx="838200" cy="550863"/>
            </a:xfrm>
            <a:custGeom>
              <a:avLst/>
              <a:gdLst>
                <a:gd name="T0" fmla="*/ 145 w 1100"/>
                <a:gd name="T1" fmla="*/ 536 h 723"/>
                <a:gd name="T2" fmla="*/ 184 w 1100"/>
                <a:gd name="T3" fmla="*/ 536 h 723"/>
                <a:gd name="T4" fmla="*/ 194 w 1100"/>
                <a:gd name="T5" fmla="*/ 723 h 723"/>
                <a:gd name="T6" fmla="*/ 583 w 1100"/>
                <a:gd name="T7" fmla="*/ 723 h 723"/>
                <a:gd name="T8" fmla="*/ 583 w 1100"/>
                <a:gd name="T9" fmla="*/ 494 h 723"/>
                <a:gd name="T10" fmla="*/ 1046 w 1100"/>
                <a:gd name="T11" fmla="*/ 263 h 723"/>
                <a:gd name="T12" fmla="*/ 1061 w 1100"/>
                <a:gd name="T13" fmla="*/ 120 h 723"/>
                <a:gd name="T14" fmla="*/ 1085 w 1100"/>
                <a:gd name="T15" fmla="*/ 57 h 723"/>
                <a:gd name="T16" fmla="*/ 1063 w 1100"/>
                <a:gd name="T17" fmla="*/ 8 h 723"/>
                <a:gd name="T18" fmla="*/ 1015 w 1100"/>
                <a:gd name="T19" fmla="*/ 30 h 723"/>
                <a:gd name="T20" fmla="*/ 992 w 1100"/>
                <a:gd name="T21" fmla="*/ 88 h 723"/>
                <a:gd name="T22" fmla="*/ 954 w 1100"/>
                <a:gd name="T23" fmla="*/ 97 h 723"/>
                <a:gd name="T24" fmla="*/ 315 w 1100"/>
                <a:gd name="T25" fmla="*/ 268 h 723"/>
                <a:gd name="T26" fmla="*/ 0 w 1100"/>
                <a:gd name="T27" fmla="*/ 538 h 723"/>
                <a:gd name="T28" fmla="*/ 0 w 1100"/>
                <a:gd name="T29" fmla="*/ 723 h 723"/>
                <a:gd name="T30" fmla="*/ 145 w 1100"/>
                <a:gd name="T31" fmla="*/ 723 h 723"/>
                <a:gd name="T32" fmla="*/ 145 w 1100"/>
                <a:gd name="T33" fmla="*/ 536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0" h="723">
                  <a:moveTo>
                    <a:pt x="145" y="536"/>
                  </a:moveTo>
                  <a:lnTo>
                    <a:pt x="184" y="536"/>
                  </a:lnTo>
                  <a:lnTo>
                    <a:pt x="194" y="723"/>
                  </a:lnTo>
                  <a:lnTo>
                    <a:pt x="583" y="723"/>
                  </a:lnTo>
                  <a:lnTo>
                    <a:pt x="583" y="494"/>
                  </a:lnTo>
                  <a:cubicBezTo>
                    <a:pt x="772" y="432"/>
                    <a:pt x="939" y="344"/>
                    <a:pt x="1046" y="263"/>
                  </a:cubicBezTo>
                  <a:cubicBezTo>
                    <a:pt x="1091" y="229"/>
                    <a:pt x="1100" y="166"/>
                    <a:pt x="1061" y="120"/>
                  </a:cubicBezTo>
                  <a:lnTo>
                    <a:pt x="1085" y="57"/>
                  </a:lnTo>
                  <a:cubicBezTo>
                    <a:pt x="1093" y="37"/>
                    <a:pt x="1083" y="15"/>
                    <a:pt x="1063" y="8"/>
                  </a:cubicBezTo>
                  <a:cubicBezTo>
                    <a:pt x="1044" y="0"/>
                    <a:pt x="1022" y="10"/>
                    <a:pt x="1015" y="30"/>
                  </a:cubicBezTo>
                  <a:lnTo>
                    <a:pt x="992" y="88"/>
                  </a:lnTo>
                  <a:cubicBezTo>
                    <a:pt x="980" y="89"/>
                    <a:pt x="966" y="90"/>
                    <a:pt x="954" y="97"/>
                  </a:cubicBezTo>
                  <a:cubicBezTo>
                    <a:pt x="624" y="282"/>
                    <a:pt x="513" y="268"/>
                    <a:pt x="315" y="268"/>
                  </a:cubicBezTo>
                  <a:cubicBezTo>
                    <a:pt x="132" y="268"/>
                    <a:pt x="0" y="339"/>
                    <a:pt x="0" y="538"/>
                  </a:cubicBezTo>
                  <a:lnTo>
                    <a:pt x="0" y="723"/>
                  </a:lnTo>
                  <a:lnTo>
                    <a:pt x="145" y="723"/>
                  </a:lnTo>
                  <a:lnTo>
                    <a:pt x="145" y="536"/>
                  </a:lnTo>
                  <a:close/>
                </a:path>
              </a:pathLst>
            </a:custGeom>
            <a:grpFill/>
            <a:ln w="19050">
              <a:solidFill>
                <a:schemeClr val="l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Rectangle 47">
              <a:extLst>
                <a:ext uri="{FF2B5EF4-FFF2-40B4-BE49-F238E27FC236}">
                  <a16:creationId xmlns:a16="http://schemas.microsoft.com/office/drawing/2014/main" id="{0D53116A-DCA6-457D-A2B5-ED5FBE8D19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8838" y="158750"/>
              <a:ext cx="401638" cy="41275"/>
            </a:xfrm>
            <a:prstGeom prst="rect">
              <a:avLst/>
            </a:prstGeom>
            <a:grpFill/>
            <a:ln w="19050">
              <a:solidFill>
                <a:schemeClr val="l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Rectangle 48">
              <a:extLst>
                <a:ext uri="{FF2B5EF4-FFF2-40B4-BE49-F238E27FC236}">
                  <a16:creationId xmlns:a16="http://schemas.microsoft.com/office/drawing/2014/main" id="{B935A575-4260-496E-B90E-4D84EA2DC0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8838" y="266700"/>
              <a:ext cx="238125" cy="41275"/>
            </a:xfrm>
            <a:prstGeom prst="rect">
              <a:avLst/>
            </a:prstGeom>
            <a:grpFill/>
            <a:ln w="19050">
              <a:solidFill>
                <a:schemeClr val="l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2" name="Rout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DDF843B-2E27-400F-9E90-F6F07F6FE42F}"/>
              </a:ext>
            </a:extLst>
          </p:cNvPr>
          <p:cNvGrpSpPr>
            <a:grpSpLocks noChangeAspect="1"/>
          </p:cNvGrpSpPr>
          <p:nvPr/>
        </p:nvGrpSpPr>
        <p:grpSpPr>
          <a:xfrm>
            <a:off x="918013" y="2252236"/>
            <a:ext cx="749738" cy="558800"/>
            <a:chOff x="5761831" y="4112419"/>
            <a:chExt cx="679451" cy="506413"/>
          </a:xfrm>
        </p:grpSpPr>
        <p:sp>
          <p:nvSpPr>
            <p:cNvPr id="133" name="Freeform 1824">
              <a:extLst>
                <a:ext uri="{FF2B5EF4-FFF2-40B4-BE49-F238E27FC236}">
                  <a16:creationId xmlns:a16="http://schemas.microsoft.com/office/drawing/2014/main" id="{9AF8A6DA-A9D1-4945-9DF3-BE1B3F394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1315" y="4429919"/>
              <a:ext cx="328193" cy="182563"/>
            </a:xfrm>
            <a:custGeom>
              <a:avLst/>
              <a:gdLst>
                <a:gd name="T0" fmla="*/ 48 w 402"/>
                <a:gd name="T1" fmla="*/ 0 h 164"/>
                <a:gd name="T2" fmla="*/ 173 w 402"/>
                <a:gd name="T3" fmla="*/ 0 h 164"/>
                <a:gd name="T4" fmla="*/ 223 w 402"/>
                <a:gd name="T5" fmla="*/ 34 h 164"/>
                <a:gd name="T6" fmla="*/ 173 w 402"/>
                <a:gd name="T7" fmla="*/ 69 h 164"/>
                <a:gd name="T8" fmla="*/ 68 w 402"/>
                <a:gd name="T9" fmla="*/ 69 h 164"/>
                <a:gd name="T10" fmla="*/ 0 w 402"/>
                <a:gd name="T11" fmla="*/ 116 h 164"/>
                <a:gd name="T12" fmla="*/ 68 w 402"/>
                <a:gd name="T13" fmla="*/ 164 h 164"/>
                <a:gd name="T14" fmla="*/ 402 w 402"/>
                <a:gd name="T15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2" h="164">
                  <a:moveTo>
                    <a:pt x="48" y="0"/>
                  </a:moveTo>
                  <a:lnTo>
                    <a:pt x="173" y="0"/>
                  </a:lnTo>
                  <a:cubicBezTo>
                    <a:pt x="202" y="0"/>
                    <a:pt x="223" y="15"/>
                    <a:pt x="223" y="34"/>
                  </a:cubicBezTo>
                  <a:cubicBezTo>
                    <a:pt x="223" y="53"/>
                    <a:pt x="202" y="69"/>
                    <a:pt x="173" y="69"/>
                  </a:cubicBezTo>
                  <a:lnTo>
                    <a:pt x="68" y="69"/>
                  </a:lnTo>
                  <a:cubicBezTo>
                    <a:pt x="27" y="69"/>
                    <a:pt x="0" y="90"/>
                    <a:pt x="0" y="116"/>
                  </a:cubicBezTo>
                  <a:cubicBezTo>
                    <a:pt x="0" y="143"/>
                    <a:pt x="27" y="164"/>
                    <a:pt x="68" y="164"/>
                  </a:cubicBezTo>
                  <a:lnTo>
                    <a:pt x="402" y="164"/>
                  </a:lnTo>
                </a:path>
              </a:pathLst>
            </a:custGeom>
            <a:noFill/>
            <a:ln w="20638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1828">
              <a:extLst>
                <a:ext uri="{FF2B5EF4-FFF2-40B4-BE49-F238E27FC236}">
                  <a16:creationId xmlns:a16="http://schemas.microsoft.com/office/drawing/2014/main" id="{B7430BC3-D286-4742-B27F-EE864E236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7269" y="4112419"/>
              <a:ext cx="354013" cy="506413"/>
            </a:xfrm>
            <a:custGeom>
              <a:avLst/>
              <a:gdLst>
                <a:gd name="T0" fmla="*/ 317 w 317"/>
                <a:gd name="T1" fmla="*/ 165 h 453"/>
                <a:gd name="T2" fmla="*/ 143 w 317"/>
                <a:gd name="T3" fmla="*/ 10 h 453"/>
                <a:gd name="T4" fmla="*/ 6 w 317"/>
                <a:gd name="T5" fmla="*/ 140 h 453"/>
                <a:gd name="T6" fmla="*/ 25 w 317"/>
                <a:gd name="T7" fmla="*/ 243 h 453"/>
                <a:gd name="T8" fmla="*/ 25 w 317"/>
                <a:gd name="T9" fmla="*/ 243 h 453"/>
                <a:gd name="T10" fmla="*/ 135 w 317"/>
                <a:gd name="T11" fmla="*/ 433 h 453"/>
                <a:gd name="T12" fmla="*/ 186 w 317"/>
                <a:gd name="T13" fmla="*/ 433 h 453"/>
                <a:gd name="T14" fmla="*/ 296 w 317"/>
                <a:gd name="T15" fmla="*/ 243 h 453"/>
                <a:gd name="T16" fmla="*/ 296 w 317"/>
                <a:gd name="T17" fmla="*/ 243 h 453"/>
                <a:gd name="T18" fmla="*/ 317 w 317"/>
                <a:gd name="T19" fmla="*/ 165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7" h="453">
                  <a:moveTo>
                    <a:pt x="317" y="165"/>
                  </a:moveTo>
                  <a:cubicBezTo>
                    <a:pt x="317" y="73"/>
                    <a:pt x="237" y="0"/>
                    <a:pt x="143" y="10"/>
                  </a:cubicBezTo>
                  <a:cubicBezTo>
                    <a:pt x="74" y="17"/>
                    <a:pt x="17" y="72"/>
                    <a:pt x="6" y="140"/>
                  </a:cubicBezTo>
                  <a:cubicBezTo>
                    <a:pt x="0" y="178"/>
                    <a:pt x="8" y="214"/>
                    <a:pt x="25" y="243"/>
                  </a:cubicBezTo>
                  <a:lnTo>
                    <a:pt x="25" y="243"/>
                  </a:lnTo>
                  <a:lnTo>
                    <a:pt x="135" y="433"/>
                  </a:lnTo>
                  <a:cubicBezTo>
                    <a:pt x="146" y="453"/>
                    <a:pt x="175" y="453"/>
                    <a:pt x="186" y="433"/>
                  </a:cubicBezTo>
                  <a:lnTo>
                    <a:pt x="296" y="243"/>
                  </a:lnTo>
                  <a:lnTo>
                    <a:pt x="296" y="243"/>
                  </a:lnTo>
                  <a:cubicBezTo>
                    <a:pt x="309" y="220"/>
                    <a:pt x="317" y="194"/>
                    <a:pt x="317" y="165"/>
                  </a:cubicBezTo>
                  <a:close/>
                </a:path>
              </a:pathLst>
            </a:custGeom>
            <a:noFill/>
            <a:ln w="20638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Oval 1829">
              <a:extLst>
                <a:ext uri="{FF2B5EF4-FFF2-40B4-BE49-F238E27FC236}">
                  <a16:creationId xmlns:a16="http://schemas.microsoft.com/office/drawing/2014/main" id="{05633009-9DB2-4F18-8B58-3669857D86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931" y="4212432"/>
              <a:ext cx="171450" cy="168275"/>
            </a:xfrm>
            <a:prstGeom prst="ellipse">
              <a:avLst/>
            </a:prstGeom>
            <a:noFill/>
            <a:ln w="20638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1833">
              <a:extLst>
                <a:ext uri="{FF2B5EF4-FFF2-40B4-BE49-F238E27FC236}">
                  <a16:creationId xmlns:a16="http://schemas.microsoft.com/office/drawing/2014/main" id="{5E494F7D-60E7-4C36-A974-A9088ACFF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831" y="4114007"/>
              <a:ext cx="220663" cy="319088"/>
            </a:xfrm>
            <a:custGeom>
              <a:avLst/>
              <a:gdLst>
                <a:gd name="T0" fmla="*/ 198 w 198"/>
                <a:gd name="T1" fmla="*/ 104 h 285"/>
                <a:gd name="T2" fmla="*/ 89 w 198"/>
                <a:gd name="T3" fmla="*/ 7 h 285"/>
                <a:gd name="T4" fmla="*/ 3 w 198"/>
                <a:gd name="T5" fmla="*/ 88 h 285"/>
                <a:gd name="T6" fmla="*/ 15 w 198"/>
                <a:gd name="T7" fmla="*/ 153 h 285"/>
                <a:gd name="T8" fmla="*/ 15 w 198"/>
                <a:gd name="T9" fmla="*/ 153 h 285"/>
                <a:gd name="T10" fmla="*/ 84 w 198"/>
                <a:gd name="T11" fmla="*/ 272 h 285"/>
                <a:gd name="T12" fmla="*/ 116 w 198"/>
                <a:gd name="T13" fmla="*/ 272 h 285"/>
                <a:gd name="T14" fmla="*/ 185 w 198"/>
                <a:gd name="T15" fmla="*/ 153 h 285"/>
                <a:gd name="T16" fmla="*/ 185 w 198"/>
                <a:gd name="T17" fmla="*/ 153 h 285"/>
                <a:gd name="T18" fmla="*/ 198 w 198"/>
                <a:gd name="T19" fmla="*/ 104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85">
                  <a:moveTo>
                    <a:pt x="198" y="104"/>
                  </a:moveTo>
                  <a:cubicBezTo>
                    <a:pt x="198" y="46"/>
                    <a:pt x="148" y="0"/>
                    <a:pt x="89" y="7"/>
                  </a:cubicBezTo>
                  <a:cubicBezTo>
                    <a:pt x="46" y="11"/>
                    <a:pt x="10" y="45"/>
                    <a:pt x="3" y="88"/>
                  </a:cubicBezTo>
                  <a:cubicBezTo>
                    <a:pt x="0" y="112"/>
                    <a:pt x="4" y="135"/>
                    <a:pt x="15" y="153"/>
                  </a:cubicBezTo>
                  <a:lnTo>
                    <a:pt x="15" y="153"/>
                  </a:lnTo>
                  <a:lnTo>
                    <a:pt x="84" y="272"/>
                  </a:lnTo>
                  <a:cubicBezTo>
                    <a:pt x="91" y="285"/>
                    <a:pt x="109" y="285"/>
                    <a:pt x="116" y="272"/>
                  </a:cubicBezTo>
                  <a:lnTo>
                    <a:pt x="185" y="153"/>
                  </a:lnTo>
                  <a:lnTo>
                    <a:pt x="185" y="153"/>
                  </a:lnTo>
                  <a:cubicBezTo>
                    <a:pt x="193" y="139"/>
                    <a:pt x="198" y="122"/>
                    <a:pt x="198" y="104"/>
                  </a:cubicBezTo>
                  <a:close/>
                </a:path>
              </a:pathLst>
            </a:custGeom>
            <a:noFill/>
            <a:ln w="20638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Oval 1834">
              <a:extLst>
                <a:ext uri="{FF2B5EF4-FFF2-40B4-BE49-F238E27FC236}">
                  <a16:creationId xmlns:a16="http://schemas.microsoft.com/office/drawing/2014/main" id="{60FE394C-99F8-43B4-B64D-0EC0111AAD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8981" y="4177507"/>
              <a:ext cx="106363" cy="106363"/>
            </a:xfrm>
            <a:prstGeom prst="ellipse">
              <a:avLst/>
            </a:prstGeom>
            <a:noFill/>
            <a:ln w="20638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8" name="Rectangle 137">
            <a:extLst>
              <a:ext uri="{FF2B5EF4-FFF2-40B4-BE49-F238E27FC236}">
                <a16:creationId xmlns:a16="http://schemas.microsoft.com/office/drawing/2014/main" id="{F0FE147E-7B62-41A7-B5F6-F698E5D4FC5A}"/>
              </a:ext>
            </a:extLst>
          </p:cNvPr>
          <p:cNvSpPr/>
          <p:nvPr/>
        </p:nvSpPr>
        <p:spPr>
          <a:xfrm>
            <a:off x="0" y="6568751"/>
            <a:ext cx="1390261" cy="2892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3" name="Imagen 9" descr="Logo de Fundación ONCE&#10;&#10;Logo de Fundación ONCE">
            <a:extLst>
              <a:ext uri="{FF2B5EF4-FFF2-40B4-BE49-F238E27FC236}">
                <a16:creationId xmlns:a16="http://schemas.microsoft.com/office/drawing/2014/main" id="{AF4C6ECE-246D-4A6F-88E7-138B07ED37C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B85C10A-D891-4CAF-A32D-191C80000F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0390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Rout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3152FCF-27C4-497E-B53A-4E16D8BF3BD4}"/>
              </a:ext>
            </a:extLst>
          </p:cNvPr>
          <p:cNvGrpSpPr>
            <a:grpSpLocks noChangeAspect="1"/>
          </p:cNvGrpSpPr>
          <p:nvPr/>
        </p:nvGrpSpPr>
        <p:grpSpPr>
          <a:xfrm>
            <a:off x="806044" y="4986104"/>
            <a:ext cx="1747861" cy="1302728"/>
            <a:chOff x="5761831" y="4112419"/>
            <a:chExt cx="679451" cy="506413"/>
          </a:xfrm>
        </p:grpSpPr>
        <p:sp>
          <p:nvSpPr>
            <p:cNvPr id="6" name="Freeform 1824">
              <a:extLst>
                <a:ext uri="{FF2B5EF4-FFF2-40B4-BE49-F238E27FC236}">
                  <a16:creationId xmlns:a16="http://schemas.microsoft.com/office/drawing/2014/main" id="{69992E14-5D0C-47BE-AD42-A2BAB4AB4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1315" y="4429919"/>
              <a:ext cx="328193" cy="182563"/>
            </a:xfrm>
            <a:custGeom>
              <a:avLst/>
              <a:gdLst>
                <a:gd name="T0" fmla="*/ 48 w 402"/>
                <a:gd name="T1" fmla="*/ 0 h 164"/>
                <a:gd name="T2" fmla="*/ 173 w 402"/>
                <a:gd name="T3" fmla="*/ 0 h 164"/>
                <a:gd name="T4" fmla="*/ 223 w 402"/>
                <a:gd name="T5" fmla="*/ 34 h 164"/>
                <a:gd name="T6" fmla="*/ 173 w 402"/>
                <a:gd name="T7" fmla="*/ 69 h 164"/>
                <a:gd name="T8" fmla="*/ 68 w 402"/>
                <a:gd name="T9" fmla="*/ 69 h 164"/>
                <a:gd name="T10" fmla="*/ 0 w 402"/>
                <a:gd name="T11" fmla="*/ 116 h 164"/>
                <a:gd name="T12" fmla="*/ 68 w 402"/>
                <a:gd name="T13" fmla="*/ 164 h 164"/>
                <a:gd name="T14" fmla="*/ 402 w 402"/>
                <a:gd name="T15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2" h="164">
                  <a:moveTo>
                    <a:pt x="48" y="0"/>
                  </a:moveTo>
                  <a:lnTo>
                    <a:pt x="173" y="0"/>
                  </a:lnTo>
                  <a:cubicBezTo>
                    <a:pt x="202" y="0"/>
                    <a:pt x="223" y="15"/>
                    <a:pt x="223" y="34"/>
                  </a:cubicBezTo>
                  <a:cubicBezTo>
                    <a:pt x="223" y="53"/>
                    <a:pt x="202" y="69"/>
                    <a:pt x="173" y="69"/>
                  </a:cubicBezTo>
                  <a:lnTo>
                    <a:pt x="68" y="69"/>
                  </a:lnTo>
                  <a:cubicBezTo>
                    <a:pt x="27" y="69"/>
                    <a:pt x="0" y="90"/>
                    <a:pt x="0" y="116"/>
                  </a:cubicBezTo>
                  <a:cubicBezTo>
                    <a:pt x="0" y="143"/>
                    <a:pt x="27" y="164"/>
                    <a:pt x="68" y="164"/>
                  </a:cubicBezTo>
                  <a:lnTo>
                    <a:pt x="402" y="164"/>
                  </a:lnTo>
                </a:path>
              </a:pathLst>
            </a:custGeom>
            <a:noFill/>
            <a:ln w="20638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reeform 1828">
              <a:extLst>
                <a:ext uri="{FF2B5EF4-FFF2-40B4-BE49-F238E27FC236}">
                  <a16:creationId xmlns:a16="http://schemas.microsoft.com/office/drawing/2014/main" id="{56857A93-8DD8-48BD-A083-A3249160E9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7269" y="4112419"/>
              <a:ext cx="354013" cy="506413"/>
            </a:xfrm>
            <a:custGeom>
              <a:avLst/>
              <a:gdLst>
                <a:gd name="T0" fmla="*/ 317 w 317"/>
                <a:gd name="T1" fmla="*/ 165 h 453"/>
                <a:gd name="T2" fmla="*/ 143 w 317"/>
                <a:gd name="T3" fmla="*/ 10 h 453"/>
                <a:gd name="T4" fmla="*/ 6 w 317"/>
                <a:gd name="T5" fmla="*/ 140 h 453"/>
                <a:gd name="T6" fmla="*/ 25 w 317"/>
                <a:gd name="T7" fmla="*/ 243 h 453"/>
                <a:gd name="T8" fmla="*/ 25 w 317"/>
                <a:gd name="T9" fmla="*/ 243 h 453"/>
                <a:gd name="T10" fmla="*/ 135 w 317"/>
                <a:gd name="T11" fmla="*/ 433 h 453"/>
                <a:gd name="T12" fmla="*/ 186 w 317"/>
                <a:gd name="T13" fmla="*/ 433 h 453"/>
                <a:gd name="T14" fmla="*/ 296 w 317"/>
                <a:gd name="T15" fmla="*/ 243 h 453"/>
                <a:gd name="T16" fmla="*/ 296 w 317"/>
                <a:gd name="T17" fmla="*/ 243 h 453"/>
                <a:gd name="T18" fmla="*/ 317 w 317"/>
                <a:gd name="T19" fmla="*/ 165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7" h="453">
                  <a:moveTo>
                    <a:pt x="317" y="165"/>
                  </a:moveTo>
                  <a:cubicBezTo>
                    <a:pt x="317" y="73"/>
                    <a:pt x="237" y="0"/>
                    <a:pt x="143" y="10"/>
                  </a:cubicBezTo>
                  <a:cubicBezTo>
                    <a:pt x="74" y="17"/>
                    <a:pt x="17" y="72"/>
                    <a:pt x="6" y="140"/>
                  </a:cubicBezTo>
                  <a:cubicBezTo>
                    <a:pt x="0" y="178"/>
                    <a:pt x="8" y="214"/>
                    <a:pt x="25" y="243"/>
                  </a:cubicBezTo>
                  <a:lnTo>
                    <a:pt x="25" y="243"/>
                  </a:lnTo>
                  <a:lnTo>
                    <a:pt x="135" y="433"/>
                  </a:lnTo>
                  <a:cubicBezTo>
                    <a:pt x="146" y="453"/>
                    <a:pt x="175" y="453"/>
                    <a:pt x="186" y="433"/>
                  </a:cubicBezTo>
                  <a:lnTo>
                    <a:pt x="296" y="243"/>
                  </a:lnTo>
                  <a:lnTo>
                    <a:pt x="296" y="243"/>
                  </a:lnTo>
                  <a:cubicBezTo>
                    <a:pt x="309" y="220"/>
                    <a:pt x="317" y="194"/>
                    <a:pt x="317" y="165"/>
                  </a:cubicBezTo>
                  <a:close/>
                </a:path>
              </a:pathLst>
            </a:custGeom>
            <a:noFill/>
            <a:ln w="20638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Oval 1829">
              <a:extLst>
                <a:ext uri="{FF2B5EF4-FFF2-40B4-BE49-F238E27FC236}">
                  <a16:creationId xmlns:a16="http://schemas.microsoft.com/office/drawing/2014/main" id="{D0BD7736-6784-40B2-B9B8-90AFF0C7DA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931" y="4212432"/>
              <a:ext cx="171450" cy="168275"/>
            </a:xfrm>
            <a:prstGeom prst="ellipse">
              <a:avLst/>
            </a:prstGeom>
            <a:noFill/>
            <a:ln w="20638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1833">
              <a:extLst>
                <a:ext uri="{FF2B5EF4-FFF2-40B4-BE49-F238E27FC236}">
                  <a16:creationId xmlns:a16="http://schemas.microsoft.com/office/drawing/2014/main" id="{70541F79-8E09-44FC-8FF9-86816E781C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831" y="4114007"/>
              <a:ext cx="220663" cy="319088"/>
            </a:xfrm>
            <a:custGeom>
              <a:avLst/>
              <a:gdLst>
                <a:gd name="T0" fmla="*/ 198 w 198"/>
                <a:gd name="T1" fmla="*/ 104 h 285"/>
                <a:gd name="T2" fmla="*/ 89 w 198"/>
                <a:gd name="T3" fmla="*/ 7 h 285"/>
                <a:gd name="T4" fmla="*/ 3 w 198"/>
                <a:gd name="T5" fmla="*/ 88 h 285"/>
                <a:gd name="T6" fmla="*/ 15 w 198"/>
                <a:gd name="T7" fmla="*/ 153 h 285"/>
                <a:gd name="T8" fmla="*/ 15 w 198"/>
                <a:gd name="T9" fmla="*/ 153 h 285"/>
                <a:gd name="T10" fmla="*/ 84 w 198"/>
                <a:gd name="T11" fmla="*/ 272 h 285"/>
                <a:gd name="T12" fmla="*/ 116 w 198"/>
                <a:gd name="T13" fmla="*/ 272 h 285"/>
                <a:gd name="T14" fmla="*/ 185 w 198"/>
                <a:gd name="T15" fmla="*/ 153 h 285"/>
                <a:gd name="T16" fmla="*/ 185 w 198"/>
                <a:gd name="T17" fmla="*/ 153 h 285"/>
                <a:gd name="T18" fmla="*/ 198 w 198"/>
                <a:gd name="T19" fmla="*/ 104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85">
                  <a:moveTo>
                    <a:pt x="198" y="104"/>
                  </a:moveTo>
                  <a:cubicBezTo>
                    <a:pt x="198" y="46"/>
                    <a:pt x="148" y="0"/>
                    <a:pt x="89" y="7"/>
                  </a:cubicBezTo>
                  <a:cubicBezTo>
                    <a:pt x="46" y="11"/>
                    <a:pt x="10" y="45"/>
                    <a:pt x="3" y="88"/>
                  </a:cubicBezTo>
                  <a:cubicBezTo>
                    <a:pt x="0" y="112"/>
                    <a:pt x="4" y="135"/>
                    <a:pt x="15" y="153"/>
                  </a:cubicBezTo>
                  <a:lnTo>
                    <a:pt x="15" y="153"/>
                  </a:lnTo>
                  <a:lnTo>
                    <a:pt x="84" y="272"/>
                  </a:lnTo>
                  <a:cubicBezTo>
                    <a:pt x="91" y="285"/>
                    <a:pt x="109" y="285"/>
                    <a:pt x="116" y="272"/>
                  </a:cubicBezTo>
                  <a:lnTo>
                    <a:pt x="185" y="153"/>
                  </a:lnTo>
                  <a:lnTo>
                    <a:pt x="185" y="153"/>
                  </a:lnTo>
                  <a:cubicBezTo>
                    <a:pt x="193" y="139"/>
                    <a:pt x="198" y="122"/>
                    <a:pt x="198" y="104"/>
                  </a:cubicBezTo>
                  <a:close/>
                </a:path>
              </a:pathLst>
            </a:custGeom>
            <a:noFill/>
            <a:ln w="20638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Oval 1834">
              <a:extLst>
                <a:ext uri="{FF2B5EF4-FFF2-40B4-BE49-F238E27FC236}">
                  <a16:creationId xmlns:a16="http://schemas.microsoft.com/office/drawing/2014/main" id="{A4DE0F54-5DCD-427D-8ECA-DDC2423B4B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8981" y="4177507"/>
              <a:ext cx="106363" cy="106363"/>
            </a:xfrm>
            <a:prstGeom prst="ellipse">
              <a:avLst/>
            </a:prstGeom>
            <a:noFill/>
            <a:ln w="20638" cap="rnd">
              <a:solidFill>
                <a:schemeClr val="l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Subtítulo 2">
            <a:extLst>
              <a:ext uri="{FF2B5EF4-FFF2-40B4-BE49-F238E27FC236}">
                <a16:creationId xmlns:a16="http://schemas.microsoft.com/office/drawing/2014/main" id="{4C628537-E1EB-41CF-93C5-1BCE5111151B}"/>
              </a:ext>
            </a:extLst>
          </p:cNvPr>
          <p:cNvSpPr txBox="1">
            <a:spLocks/>
          </p:cNvSpPr>
          <p:nvPr/>
        </p:nvSpPr>
        <p:spPr>
          <a:xfrm>
            <a:off x="5612966" y="1920240"/>
            <a:ext cx="6335194" cy="205027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663"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E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VOCATORIA DE AYUDAS ECONÓMICAS PARA LA SELECCIÓN DE OPERACIONES PARA LA REALIZACIÓN DE </a:t>
            </a:r>
            <a:r>
              <a:rPr kumimoji="0" lang="es-ES" sz="2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TINERARIOS PERSONALIZADOS DE EMPLEO </a:t>
            </a:r>
            <a:r>
              <a:rPr kumimoji="0" lang="es-E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ARA PERSONAS CON DISCAPACIDAD AÑO 2022-2023 </a:t>
            </a:r>
          </a:p>
        </p:txBody>
      </p:sp>
      <p:pic>
        <p:nvPicPr>
          <p:cNvPr id="12" name="Imagen 9" descr="Logo de Fundación ONCE&#10;&#10;Logo de Fundación ONCE">
            <a:extLst>
              <a:ext uri="{FF2B5EF4-FFF2-40B4-BE49-F238E27FC236}">
                <a16:creationId xmlns:a16="http://schemas.microsoft.com/office/drawing/2014/main" id="{2027D866-6DAF-4322-B79F-0AE7E572402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24F3CB-E366-4ECF-BA8F-37061B97B2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6430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DB8343-0D9A-4953-8BCA-E1251E1AA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cs typeface="Arial" panose="020B0604020202020204" pitchFamily="34" charset="0"/>
              </a:rPr>
              <a:t>Convocatoria itinerarios personalizados de empleo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BAF315E-B69D-49B0-893C-60A5FE214372}"/>
              </a:ext>
            </a:extLst>
          </p:cNvPr>
          <p:cNvGrpSpPr/>
          <p:nvPr/>
        </p:nvGrpSpPr>
        <p:grpSpPr>
          <a:xfrm>
            <a:off x="838200" y="4695208"/>
            <a:ext cx="10515601" cy="1229449"/>
            <a:chOff x="638714" y="4855465"/>
            <a:chExt cx="10515601" cy="149074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31B83AA-06E7-4AE8-A532-7CE5C8770A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425" y="4855465"/>
              <a:ext cx="9775890" cy="14907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Ins="576000" rtlCol="0" anchor="ctr">
              <a:noAutofit/>
            </a:bodyPr>
            <a:lstStyle/>
            <a:p>
              <a:pPr marL="447675" marR="0" lvl="0" defTabSz="91440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jorar la </a:t>
              </a:r>
              <a:r>
                <a:rPr lang="es-ES" sz="2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rción sociolaboral </a:t>
              </a: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 las </a:t>
              </a:r>
              <a:r>
                <a:rPr lang="es-ES" sz="24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cD</a:t>
              </a: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forma </a:t>
              </a:r>
              <a:r>
                <a:rPr lang="es-ES" sz="2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sonalizada</a:t>
              </a: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y adaptada a las necesidades de cada persona participante.</a:t>
              </a:r>
            </a:p>
          </p:txBody>
        </p:sp>
        <p:sp>
          <p:nvSpPr>
            <p:cNvPr id="6" name="Pentagon 33">
              <a:extLst>
                <a:ext uri="{FF2B5EF4-FFF2-40B4-BE49-F238E27FC236}">
                  <a16:creationId xmlns:a16="http://schemas.microsoft.com/office/drawing/2014/main" id="{7CD8D8F3-3801-49D7-A8F4-CB2C9C49F9F7}"/>
                </a:ext>
              </a:extLst>
            </p:cNvPr>
            <p:cNvSpPr/>
            <p:nvPr/>
          </p:nvSpPr>
          <p:spPr bwMode="auto">
            <a:xfrm>
              <a:off x="638714" y="4864959"/>
              <a:ext cx="1046053" cy="1481247"/>
            </a:xfrm>
            <a:prstGeom prst="homePlate">
              <a:avLst>
                <a:gd name="adj" fmla="val 2732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¿Para qué?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1054E0F-2C10-491E-AEC4-4B21A6B5F964}"/>
              </a:ext>
            </a:extLst>
          </p:cNvPr>
          <p:cNvGrpSpPr/>
          <p:nvPr/>
        </p:nvGrpSpPr>
        <p:grpSpPr>
          <a:xfrm>
            <a:off x="838200" y="3304461"/>
            <a:ext cx="10515601" cy="1231721"/>
            <a:chOff x="638714" y="3080502"/>
            <a:chExt cx="10515601" cy="149349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3A7F254-3ECA-4D2B-99ED-11AD8ECAC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425" y="3083257"/>
              <a:ext cx="9775890" cy="14907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rIns="576000" rtlCol="0" anchor="ctr">
              <a:noAutofit/>
            </a:bodyPr>
            <a:lstStyle/>
            <a:p>
              <a:pPr marL="457200" lvl="1" indent="0" algn="just">
                <a:buNone/>
              </a:pP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 través del desarrollo de operaciones de </a:t>
              </a:r>
              <a:r>
                <a:rPr lang="es-ES" sz="2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inerarios personalizados </a:t>
              </a: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 integrados de inserción</a:t>
              </a:r>
              <a:endParaRPr lang="es-E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Pentagon 19">
              <a:extLst>
                <a:ext uri="{FF2B5EF4-FFF2-40B4-BE49-F238E27FC236}">
                  <a16:creationId xmlns:a16="http://schemas.microsoft.com/office/drawing/2014/main" id="{09C7B543-C6A1-40DF-9999-CF0B412A4E88}"/>
                </a:ext>
              </a:extLst>
            </p:cNvPr>
            <p:cNvSpPr/>
            <p:nvPr/>
          </p:nvSpPr>
          <p:spPr bwMode="auto">
            <a:xfrm>
              <a:off x="638714" y="3080502"/>
              <a:ext cx="1088601" cy="1493498"/>
            </a:xfrm>
            <a:prstGeom prst="homePlate">
              <a:avLst>
                <a:gd name="adj" fmla="val 27321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¿Cómo?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4D9981CA-DFA4-4AC8-80F0-A6145BC396F4}"/>
              </a:ext>
            </a:extLst>
          </p:cNvPr>
          <p:cNvGrpSpPr/>
          <p:nvPr/>
        </p:nvGrpSpPr>
        <p:grpSpPr>
          <a:xfrm>
            <a:off x="838202" y="1911359"/>
            <a:ext cx="10395855" cy="1243288"/>
            <a:chOff x="638714" y="1308295"/>
            <a:chExt cx="10395855" cy="150474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8F6DD7E-28AC-4934-9AE4-0E1ABC25AF46}"/>
                </a:ext>
              </a:extLst>
            </p:cNvPr>
            <p:cNvSpPr/>
            <p:nvPr/>
          </p:nvSpPr>
          <p:spPr bwMode="auto">
            <a:xfrm>
              <a:off x="1378424" y="1308295"/>
              <a:ext cx="9656145" cy="14907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32000" tIns="0" rIns="0" bIns="0" rtlCol="0" anchor="ctr"/>
            <a:lstStyle/>
            <a:p>
              <a:pPr marL="457200" lvl="1" indent="0" algn="just">
                <a:buNone/>
              </a:pP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recer </a:t>
              </a:r>
              <a:r>
                <a:rPr lang="es-ES" sz="2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tuaciones</a:t>
              </a: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que respondan a las </a:t>
              </a:r>
              <a:r>
                <a:rPr lang="es-ES" sz="2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cesidades</a:t>
              </a:r>
              <a:r>
                <a:rPr lang="es-E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articulares de las personas con discapacidad participantes.</a:t>
              </a:r>
              <a:endParaRPr lang="es-E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Pentagon 26">
              <a:extLst>
                <a:ext uri="{FF2B5EF4-FFF2-40B4-BE49-F238E27FC236}">
                  <a16:creationId xmlns:a16="http://schemas.microsoft.com/office/drawing/2014/main" id="{8A41FA1A-129D-4757-BCF9-449AE077E1F7}"/>
                </a:ext>
              </a:extLst>
            </p:cNvPr>
            <p:cNvSpPr/>
            <p:nvPr/>
          </p:nvSpPr>
          <p:spPr bwMode="auto">
            <a:xfrm>
              <a:off x="638714" y="1308295"/>
              <a:ext cx="1075482" cy="1504743"/>
            </a:xfrm>
            <a:prstGeom prst="homePlate">
              <a:avLst>
                <a:gd name="adj" fmla="val 27321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¿Qué?</a:t>
              </a: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24A3D4-91A9-4728-AD22-904DF943B5C4}"/>
              </a:ext>
            </a:extLst>
          </p:cNvPr>
          <p:cNvCxnSpPr>
            <a:cxnSpLocks/>
          </p:cNvCxnSpPr>
          <p:nvPr/>
        </p:nvCxnSpPr>
        <p:spPr>
          <a:xfrm flipV="1">
            <a:off x="838202" y="3226401"/>
            <a:ext cx="10404000" cy="3957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6F9308F-07C0-4742-B689-C789A9ED4B9A}"/>
              </a:ext>
            </a:extLst>
          </p:cNvPr>
          <p:cNvCxnSpPr>
            <a:cxnSpLocks/>
          </p:cNvCxnSpPr>
          <p:nvPr/>
        </p:nvCxnSpPr>
        <p:spPr>
          <a:xfrm flipV="1">
            <a:off x="838202" y="4610285"/>
            <a:ext cx="10368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13AC434C-CDDA-4F03-9273-9A2A9D9D1F80}"/>
              </a:ext>
            </a:extLst>
          </p:cNvPr>
          <p:cNvSpPr/>
          <p:nvPr/>
        </p:nvSpPr>
        <p:spPr>
          <a:xfrm>
            <a:off x="0" y="6568751"/>
            <a:ext cx="1390261" cy="2892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65" name="Imagen 9" descr="Logo de Fundación ONCE&#10;&#10;Logo de Fundación ONCE">
            <a:extLst>
              <a:ext uri="{FF2B5EF4-FFF2-40B4-BE49-F238E27FC236}">
                <a16:creationId xmlns:a16="http://schemas.microsoft.com/office/drawing/2014/main" id="{2D3C2687-0950-4D6F-9198-E96F98FF8A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BC3CB67F-795A-49BA-8CCD-AB2C1F7285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4990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9806C6F-4189-4D30-92F8-74DA9044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76" y="675107"/>
            <a:ext cx="10515600" cy="758277"/>
          </a:xfrm>
        </p:spPr>
        <p:txBody>
          <a:bodyPr>
            <a:normAutofit fontScale="90000"/>
          </a:bodyPr>
          <a:lstStyle/>
          <a:p>
            <a:r>
              <a:rPr lang="es-ES" sz="5400" dirty="0"/>
              <a:t>Dotación financiera</a:t>
            </a:r>
          </a:p>
        </p:txBody>
      </p:sp>
      <p:sp>
        <p:nvSpPr>
          <p:cNvPr id="10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D4255F1-2953-4143-9C73-C29D2BF9B7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6676" y="1833491"/>
            <a:ext cx="11140440" cy="4749509"/>
          </a:xfrm>
        </p:spPr>
        <p:txBody>
          <a:bodyPr>
            <a:normAutofit/>
          </a:bodyPr>
          <a:lstStyle/>
          <a:p>
            <a:pPr marL="41910" marR="387985" indent="0" algn="ctr">
              <a:lnSpc>
                <a:spcPct val="110000"/>
              </a:lnSpc>
              <a:spcAft>
                <a:spcPts val="0"/>
              </a:spcAft>
              <a:buNone/>
            </a:pPr>
            <a:r>
              <a:rPr lang="es-ES" sz="35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1.750.000 euros</a:t>
            </a:r>
            <a:endParaRPr lang="es-ES" sz="3500" dirty="0">
              <a:solidFill>
                <a:srgbClr val="C00000"/>
              </a:solidFill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R="387985" algn="just">
              <a:lnSpc>
                <a:spcPct val="110000"/>
              </a:lnSpc>
              <a:buClr>
                <a:srgbClr val="C00000"/>
              </a:buClr>
              <a:buFont typeface="Wingdings" panose="05000000000000000000" pitchFamily="2" charset="2"/>
              <a:buChar char="è"/>
            </a:pPr>
            <a:r>
              <a:rPr lang="es-ES" sz="2000" b="1" u="sng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Regiones + desarrolladas (D1)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173.075 €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cofinanciación FSE 50% . </a:t>
            </a:r>
          </a:p>
          <a:p>
            <a:pPr marL="0" marR="387985" lvl="0" indent="0" algn="just">
              <a:lnSpc>
                <a:spcPct val="110000"/>
              </a:lnSpc>
              <a:spcAft>
                <a:spcPts val="0"/>
              </a:spcAft>
              <a:buNone/>
            </a:pP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Aragón, Baleares, Cantabria, Castilla y León, Cataluña, Comunidad Valenciana, La Rioja, Madrid, Navarra y País Vasco.</a:t>
            </a:r>
          </a:p>
          <a:p>
            <a:pPr marR="387985" algn="just">
              <a:buClr>
                <a:srgbClr val="C00000"/>
              </a:buClr>
              <a:buFont typeface="Wingdings" panose="05000000000000000000" pitchFamily="2" charset="2"/>
              <a:buChar char="è"/>
            </a:pPr>
            <a:r>
              <a:rPr lang="es-ES" sz="2000" b="1" u="sng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Regiones + desarrolladas (D2)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261.769 €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cofinanciación FSE 80%. </a:t>
            </a:r>
          </a:p>
          <a:p>
            <a:pPr marL="0" marR="387985" indent="0" algn="just">
              <a:buClr>
                <a:srgbClr val="C00000"/>
              </a:buClr>
              <a:buNone/>
            </a:pP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Asturias, Ceuta y Galicia.</a:t>
            </a:r>
          </a:p>
          <a:p>
            <a:pPr marR="387985" algn="just">
              <a:buClr>
                <a:srgbClr val="C00000"/>
              </a:buClr>
              <a:buFont typeface="Wingdings" panose="05000000000000000000" pitchFamily="2" charset="2"/>
              <a:buChar char="è"/>
            </a:pPr>
            <a:r>
              <a:rPr lang="es-ES" sz="2000" b="1" u="sng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Regiones en Transición (T)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1.083.950 €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cofinanciación FSE 80%. </a:t>
            </a:r>
          </a:p>
          <a:p>
            <a:pPr marL="0" marR="387985" indent="0" algn="just">
              <a:buClr>
                <a:srgbClr val="C00000"/>
              </a:buClr>
              <a:buNone/>
            </a:pP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Andalucía, Canarias, Castilla La Mancha, Melilla y Región de Murcia</a:t>
            </a:r>
          </a:p>
          <a:p>
            <a:pPr marR="387985" algn="just">
              <a:lnSpc>
                <a:spcPct val="110000"/>
              </a:lnSpc>
              <a:buClr>
                <a:srgbClr val="C00000"/>
              </a:buClr>
              <a:buFont typeface="Wingdings" panose="05000000000000000000" pitchFamily="2" charset="2"/>
              <a:buChar char="è"/>
            </a:pPr>
            <a:r>
              <a:rPr lang="es-ES" sz="2000" b="1" u="sng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Regiones - desarrolladas (-D)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231.205 €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cofinanciación FSE del 80%. </a:t>
            </a:r>
          </a:p>
          <a:p>
            <a:pPr marL="0" marR="387985" indent="0" algn="just">
              <a:lnSpc>
                <a:spcPct val="110000"/>
              </a:lnSpc>
              <a:buNone/>
            </a:pP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Extremadura</a:t>
            </a:r>
            <a:endParaRPr lang="es-ES" sz="2000" dirty="0"/>
          </a:p>
          <a:p>
            <a:pPr lvl="1">
              <a:buFontTx/>
              <a:buChar char="-"/>
            </a:pPr>
            <a:endParaRPr lang="es-ES" sz="2200" dirty="0"/>
          </a:p>
        </p:txBody>
      </p:sp>
      <p:pic>
        <p:nvPicPr>
          <p:cNvPr id="9" name="Imagen 9" descr="Logo de Fundación ONCE&#10;&#10;Logo de Fundación ONCE">
            <a:extLst>
              <a:ext uri="{FF2B5EF4-FFF2-40B4-BE49-F238E27FC236}">
                <a16:creationId xmlns:a16="http://schemas.microsoft.com/office/drawing/2014/main" id="{3256AD08-B940-4E1E-83EE-EC0A64AC1D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8006D8-2CC2-4E6F-A645-7C7859D9B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39556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9806C6F-4189-4D30-92F8-74DA9044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76" y="675107"/>
            <a:ext cx="10515600" cy="758277"/>
          </a:xfrm>
        </p:spPr>
        <p:txBody>
          <a:bodyPr>
            <a:normAutofit fontScale="90000"/>
          </a:bodyPr>
          <a:lstStyle/>
          <a:p>
            <a:r>
              <a:rPr lang="es-ES" sz="5400" dirty="0"/>
              <a:t>Entidades que pueden presentarse</a:t>
            </a:r>
          </a:p>
        </p:txBody>
      </p:sp>
      <p:sp>
        <p:nvSpPr>
          <p:cNvPr id="10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n 9" descr="Logo de Fundación ONCE&#10;&#10;Logo de Fundación ONCE">
            <a:extLst>
              <a:ext uri="{FF2B5EF4-FFF2-40B4-BE49-F238E27FC236}">
                <a16:creationId xmlns:a16="http://schemas.microsoft.com/office/drawing/2014/main" id="{3256AD08-B940-4E1E-83EE-EC0A64AC1D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8006D8-2CC2-4E6F-A645-7C7859D9B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sp>
        <p:nvSpPr>
          <p:cNvPr id="12" name="Marcador de contenido 2">
            <a:extLst>
              <a:ext uri="{FF2B5EF4-FFF2-40B4-BE49-F238E27FC236}">
                <a16:creationId xmlns:a16="http://schemas.microsoft.com/office/drawing/2014/main" id="{C05C9E4F-C2D4-468B-AD5E-298979F697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9035" y="1854371"/>
            <a:ext cx="10853928" cy="3942809"/>
          </a:xfrm>
        </p:spPr>
        <p:txBody>
          <a:bodyPr anchor="ctr">
            <a:noAutofit/>
          </a:bodyPr>
          <a:lstStyle/>
          <a:p>
            <a:pPr marL="564515" marR="387985" indent="-342900" algn="just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Las asociaciones, fundaciones, federaciones y confederaciones, y congregaciones religiosas, cuyo fin estatutario o cuya definición del </a:t>
            </a:r>
            <a:r>
              <a:rPr lang="es-ES" sz="20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objeto fundacional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esté prioritariamente dirigido a discapacidad</a:t>
            </a:r>
          </a:p>
          <a:p>
            <a:pPr marL="564515" marR="387985" indent="-342900" algn="just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sz="20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Sin fin de lucro</a:t>
            </a:r>
            <a:endParaRPr lang="es-ES" sz="20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564515" marR="387985" indent="-342900" algn="just">
              <a:lnSpc>
                <a:spcPct val="103000"/>
              </a:lnSpc>
              <a:spcBef>
                <a:spcPts val="670"/>
              </a:spcBef>
              <a:spcAft>
                <a:spcPts val="0"/>
              </a:spcAft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Ámbito</a:t>
            </a:r>
            <a:r>
              <a:rPr lang="es-ES" sz="2000" spc="-45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de</a:t>
            </a:r>
            <a:r>
              <a:rPr lang="es-ES" sz="2000" spc="-3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actuación </a:t>
            </a:r>
            <a:r>
              <a:rPr lang="es-ES" sz="20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estatal, autonómico o local</a:t>
            </a:r>
            <a:endParaRPr lang="es-ES" sz="20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564515" marR="387985" indent="-342900" algn="just">
              <a:lnSpc>
                <a:spcPct val="105000"/>
              </a:lnSpc>
              <a:spcBef>
                <a:spcPts val="620"/>
              </a:spcBef>
              <a:spcAft>
                <a:spcPts val="0"/>
              </a:spcAft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sz="20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Legalmente</a:t>
            </a:r>
            <a:r>
              <a:rPr lang="es-ES" sz="2000" b="1" spc="-7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constituidas</a:t>
            </a:r>
            <a:r>
              <a:rPr lang="es-ES" sz="2000" b="1" spc="-55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spc="-55" dirty="0">
                <a:latin typeface="Arial" panose="020B0604020202020204" pitchFamily="34" charset="0"/>
                <a:ea typeface="Arial" panose="020B0604020202020204" pitchFamily="34" charset="0"/>
              </a:rPr>
              <a:t>e</a:t>
            </a:r>
            <a:r>
              <a:rPr lang="es-ES" sz="2000" spc="-6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inscritas</a:t>
            </a:r>
            <a:r>
              <a:rPr lang="es-ES" sz="2000" spc="-7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en</a:t>
            </a:r>
            <a:r>
              <a:rPr lang="es-ES" sz="2000" spc="-45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registro administrativo.</a:t>
            </a:r>
          </a:p>
          <a:p>
            <a:pPr marL="564515" marR="387985" indent="-342900" algn="just">
              <a:lnSpc>
                <a:spcPct val="105000"/>
              </a:lnSpc>
              <a:spcBef>
                <a:spcPts val="595"/>
              </a:spcBef>
              <a:spcAft>
                <a:spcPts val="0"/>
              </a:spcAft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sz="2000" b="1" dirty="0">
                <a:latin typeface="Arial" panose="020B0604020202020204" pitchFamily="34" charset="0"/>
                <a:ea typeface="Arial" panose="020B0604020202020204" pitchFamily="34" charset="0"/>
              </a:rPr>
              <a:t>NO</a:t>
            </a:r>
            <a:r>
              <a:rPr lang="es-ES" sz="2000" dirty="0">
                <a:latin typeface="Arial" panose="020B0604020202020204" pitchFamily="34" charset="0"/>
                <a:ea typeface="Arial" panose="020B0604020202020204" pitchFamily="34" charset="0"/>
              </a:rPr>
              <a:t> si concurre</a:t>
            </a:r>
            <a:r>
              <a:rPr lang="es-ES" sz="2000" spc="-6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alguna</a:t>
            </a:r>
            <a:r>
              <a:rPr lang="es-ES" sz="2000" spc="-35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circunstancias</a:t>
            </a:r>
            <a:r>
              <a:rPr lang="es-ES" sz="2000" spc="-45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del </a:t>
            </a:r>
            <a:r>
              <a:rPr lang="es-E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artículo</a:t>
            </a:r>
            <a:r>
              <a:rPr lang="es-ES" sz="2000" b="1" spc="-4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13</a:t>
            </a:r>
            <a:r>
              <a:rPr lang="es-ES" sz="2000" b="1" spc="-4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los</a:t>
            </a:r>
            <a:r>
              <a:rPr lang="es-ES" sz="2000" spc="-45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apartados</a:t>
            </a:r>
            <a:r>
              <a:rPr lang="es-ES" sz="2000" spc="-45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2</a:t>
            </a:r>
            <a:r>
              <a:rPr lang="es-ES" sz="2000" spc="-4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y</a:t>
            </a:r>
            <a:r>
              <a:rPr lang="es-ES" sz="2000" spc="-55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3</a:t>
            </a:r>
            <a:r>
              <a:rPr lang="es-ES" sz="2000" spc="-4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de</a:t>
            </a:r>
            <a:r>
              <a:rPr lang="es-ES" sz="2000" spc="-4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la</a:t>
            </a:r>
            <a:r>
              <a:rPr lang="es-ES" sz="2000" spc="-4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Ley</a:t>
            </a:r>
            <a:r>
              <a:rPr lang="es-ES" sz="2000" spc="-6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es-ES" sz="20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38/2003 de Subvenciones.</a:t>
            </a:r>
            <a:endParaRPr lang="es-ES" sz="2000" dirty="0"/>
          </a:p>
        </p:txBody>
      </p:sp>
    </p:spTree>
    <p:extLst>
      <p:ext uri="{BB962C8B-B14F-4D97-AF65-F5344CB8AC3E}">
        <p14:creationId xmlns:p14="http://schemas.microsoft.com/office/powerpoint/2010/main" val="27020766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00EDD19-6802-4EC3-95CE-CFFAB042C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9806C6F-4189-4D30-92F8-74DA9044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76" y="675107"/>
            <a:ext cx="10515600" cy="758277"/>
          </a:xfrm>
        </p:spPr>
        <p:txBody>
          <a:bodyPr>
            <a:normAutofit fontScale="90000"/>
          </a:bodyPr>
          <a:lstStyle/>
          <a:p>
            <a:r>
              <a:rPr lang="es-ES" sz="5400" dirty="0"/>
              <a:t>Requisitos de los participantes</a:t>
            </a:r>
          </a:p>
        </p:txBody>
      </p:sp>
      <p:sp>
        <p:nvSpPr>
          <p:cNvPr id="10" name="sketch line">
            <a:extLst>
              <a:ext uri="{FF2B5EF4-FFF2-40B4-BE49-F238E27FC236}">
                <a16:creationId xmlns:a16="http://schemas.microsoft.com/office/drawing/2014/main" id="{DB17E863-922E-4C26-BD64-E8FD41D286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9036" y="1677373"/>
            <a:ext cx="10853928" cy="18288"/>
          </a:xfrm>
          <a:custGeom>
            <a:avLst/>
            <a:gdLst>
              <a:gd name="connsiteX0" fmla="*/ 0 w 10853928"/>
              <a:gd name="connsiteY0" fmla="*/ 0 h 18288"/>
              <a:gd name="connsiteX1" fmla="*/ 461292 w 10853928"/>
              <a:gd name="connsiteY1" fmla="*/ 0 h 18288"/>
              <a:gd name="connsiteX2" fmla="*/ 1139662 w 10853928"/>
              <a:gd name="connsiteY2" fmla="*/ 0 h 18288"/>
              <a:gd name="connsiteX3" fmla="*/ 1926572 w 10853928"/>
              <a:gd name="connsiteY3" fmla="*/ 0 h 18288"/>
              <a:gd name="connsiteX4" fmla="*/ 2279325 w 10853928"/>
              <a:gd name="connsiteY4" fmla="*/ 0 h 18288"/>
              <a:gd name="connsiteX5" fmla="*/ 2632078 w 10853928"/>
              <a:gd name="connsiteY5" fmla="*/ 0 h 18288"/>
              <a:gd name="connsiteX6" fmla="*/ 3527527 w 10853928"/>
              <a:gd name="connsiteY6" fmla="*/ 0 h 18288"/>
              <a:gd name="connsiteX7" fmla="*/ 4205897 w 10853928"/>
              <a:gd name="connsiteY7" fmla="*/ 0 h 18288"/>
              <a:gd name="connsiteX8" fmla="*/ 4558650 w 10853928"/>
              <a:gd name="connsiteY8" fmla="*/ 0 h 18288"/>
              <a:gd name="connsiteX9" fmla="*/ 5237020 w 10853928"/>
              <a:gd name="connsiteY9" fmla="*/ 0 h 18288"/>
              <a:gd name="connsiteX10" fmla="*/ 6132469 w 10853928"/>
              <a:gd name="connsiteY10" fmla="*/ 0 h 18288"/>
              <a:gd name="connsiteX11" fmla="*/ 6702301 w 10853928"/>
              <a:gd name="connsiteY11" fmla="*/ 0 h 18288"/>
              <a:gd name="connsiteX12" fmla="*/ 7272132 w 10853928"/>
              <a:gd name="connsiteY12" fmla="*/ 0 h 18288"/>
              <a:gd name="connsiteX13" fmla="*/ 7950502 w 10853928"/>
              <a:gd name="connsiteY13" fmla="*/ 0 h 18288"/>
              <a:gd name="connsiteX14" fmla="*/ 8737412 w 10853928"/>
              <a:gd name="connsiteY14" fmla="*/ 0 h 18288"/>
              <a:gd name="connsiteX15" fmla="*/ 9524322 w 10853928"/>
              <a:gd name="connsiteY15" fmla="*/ 0 h 18288"/>
              <a:gd name="connsiteX16" fmla="*/ 10853928 w 10853928"/>
              <a:gd name="connsiteY16" fmla="*/ 0 h 18288"/>
              <a:gd name="connsiteX17" fmla="*/ 10853928 w 10853928"/>
              <a:gd name="connsiteY17" fmla="*/ 18288 h 18288"/>
              <a:gd name="connsiteX18" fmla="*/ 10392636 w 10853928"/>
              <a:gd name="connsiteY18" fmla="*/ 18288 h 18288"/>
              <a:gd name="connsiteX19" fmla="*/ 9497187 w 10853928"/>
              <a:gd name="connsiteY19" fmla="*/ 18288 h 18288"/>
              <a:gd name="connsiteX20" fmla="*/ 8818817 w 10853928"/>
              <a:gd name="connsiteY20" fmla="*/ 18288 h 18288"/>
              <a:gd name="connsiteX21" fmla="*/ 8466064 w 10853928"/>
              <a:gd name="connsiteY21" fmla="*/ 18288 h 18288"/>
              <a:gd name="connsiteX22" fmla="*/ 7787693 w 10853928"/>
              <a:gd name="connsiteY22" fmla="*/ 18288 h 18288"/>
              <a:gd name="connsiteX23" fmla="*/ 7217862 w 10853928"/>
              <a:gd name="connsiteY23" fmla="*/ 18288 h 18288"/>
              <a:gd name="connsiteX24" fmla="*/ 6648031 w 10853928"/>
              <a:gd name="connsiteY24" fmla="*/ 18288 h 18288"/>
              <a:gd name="connsiteX25" fmla="*/ 6078200 w 10853928"/>
              <a:gd name="connsiteY25" fmla="*/ 18288 h 18288"/>
              <a:gd name="connsiteX26" fmla="*/ 5508368 w 10853928"/>
              <a:gd name="connsiteY26" fmla="*/ 18288 h 18288"/>
              <a:gd name="connsiteX27" fmla="*/ 4721459 w 10853928"/>
              <a:gd name="connsiteY27" fmla="*/ 18288 h 18288"/>
              <a:gd name="connsiteX28" fmla="*/ 4043088 w 10853928"/>
              <a:gd name="connsiteY28" fmla="*/ 18288 h 18288"/>
              <a:gd name="connsiteX29" fmla="*/ 3690336 w 10853928"/>
              <a:gd name="connsiteY29" fmla="*/ 18288 h 18288"/>
              <a:gd name="connsiteX30" fmla="*/ 3120504 w 10853928"/>
              <a:gd name="connsiteY30" fmla="*/ 18288 h 18288"/>
              <a:gd name="connsiteX31" fmla="*/ 2333595 w 10853928"/>
              <a:gd name="connsiteY31" fmla="*/ 18288 h 18288"/>
              <a:gd name="connsiteX32" fmla="*/ 1872303 w 10853928"/>
              <a:gd name="connsiteY32" fmla="*/ 18288 h 18288"/>
              <a:gd name="connsiteX33" fmla="*/ 976854 w 10853928"/>
              <a:gd name="connsiteY33" fmla="*/ 18288 h 18288"/>
              <a:gd name="connsiteX34" fmla="*/ 0 w 10853928"/>
              <a:gd name="connsiteY34" fmla="*/ 18288 h 18288"/>
              <a:gd name="connsiteX35" fmla="*/ 0 w 10853928"/>
              <a:gd name="connsiteY35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853928" h="18288" fill="none" extrusionOk="0">
                <a:moveTo>
                  <a:pt x="0" y="0"/>
                </a:moveTo>
                <a:cubicBezTo>
                  <a:pt x="146993" y="-19076"/>
                  <a:pt x="347684" y="-4790"/>
                  <a:pt x="461292" y="0"/>
                </a:cubicBezTo>
                <a:cubicBezTo>
                  <a:pt x="574900" y="4790"/>
                  <a:pt x="808367" y="19821"/>
                  <a:pt x="1139662" y="0"/>
                </a:cubicBezTo>
                <a:cubicBezTo>
                  <a:pt x="1470957" y="-19821"/>
                  <a:pt x="1627405" y="5721"/>
                  <a:pt x="1926572" y="0"/>
                </a:cubicBezTo>
                <a:cubicBezTo>
                  <a:pt x="2225739" y="-5721"/>
                  <a:pt x="2137730" y="-3235"/>
                  <a:pt x="2279325" y="0"/>
                </a:cubicBezTo>
                <a:cubicBezTo>
                  <a:pt x="2420920" y="3235"/>
                  <a:pt x="2456518" y="9685"/>
                  <a:pt x="2632078" y="0"/>
                </a:cubicBezTo>
                <a:cubicBezTo>
                  <a:pt x="2807638" y="-9685"/>
                  <a:pt x="3211516" y="-43007"/>
                  <a:pt x="3527527" y="0"/>
                </a:cubicBezTo>
                <a:cubicBezTo>
                  <a:pt x="3843538" y="43007"/>
                  <a:pt x="4058833" y="22042"/>
                  <a:pt x="4205897" y="0"/>
                </a:cubicBezTo>
                <a:cubicBezTo>
                  <a:pt x="4352961" y="-22042"/>
                  <a:pt x="4474805" y="-11846"/>
                  <a:pt x="4558650" y="0"/>
                </a:cubicBezTo>
                <a:cubicBezTo>
                  <a:pt x="4642495" y="11846"/>
                  <a:pt x="5041928" y="-6069"/>
                  <a:pt x="5237020" y="0"/>
                </a:cubicBezTo>
                <a:cubicBezTo>
                  <a:pt x="5432112" y="6069"/>
                  <a:pt x="5943266" y="-17479"/>
                  <a:pt x="6132469" y="0"/>
                </a:cubicBezTo>
                <a:cubicBezTo>
                  <a:pt x="6321672" y="17479"/>
                  <a:pt x="6483872" y="26234"/>
                  <a:pt x="6702301" y="0"/>
                </a:cubicBezTo>
                <a:cubicBezTo>
                  <a:pt x="6920730" y="-26234"/>
                  <a:pt x="6991194" y="-15156"/>
                  <a:pt x="7272132" y="0"/>
                </a:cubicBezTo>
                <a:cubicBezTo>
                  <a:pt x="7553070" y="15156"/>
                  <a:pt x="7684444" y="-32961"/>
                  <a:pt x="7950502" y="0"/>
                </a:cubicBezTo>
                <a:cubicBezTo>
                  <a:pt x="8216560" y="32961"/>
                  <a:pt x="8493290" y="-10491"/>
                  <a:pt x="8737412" y="0"/>
                </a:cubicBezTo>
                <a:cubicBezTo>
                  <a:pt x="8981534" y="10491"/>
                  <a:pt x="9191586" y="-13899"/>
                  <a:pt x="9524322" y="0"/>
                </a:cubicBezTo>
                <a:cubicBezTo>
                  <a:pt x="9857058" y="13899"/>
                  <a:pt x="10297509" y="7485"/>
                  <a:pt x="10853928" y="0"/>
                </a:cubicBezTo>
                <a:cubicBezTo>
                  <a:pt x="10854574" y="4451"/>
                  <a:pt x="10854418" y="9226"/>
                  <a:pt x="10853928" y="18288"/>
                </a:cubicBezTo>
                <a:cubicBezTo>
                  <a:pt x="10691638" y="28522"/>
                  <a:pt x="10574319" y="29578"/>
                  <a:pt x="10392636" y="18288"/>
                </a:cubicBezTo>
                <a:cubicBezTo>
                  <a:pt x="10210953" y="6998"/>
                  <a:pt x="9836277" y="-16742"/>
                  <a:pt x="9497187" y="18288"/>
                </a:cubicBezTo>
                <a:cubicBezTo>
                  <a:pt x="9158097" y="53318"/>
                  <a:pt x="9119479" y="30714"/>
                  <a:pt x="8818817" y="18288"/>
                </a:cubicBezTo>
                <a:cubicBezTo>
                  <a:pt x="8518155" y="5863"/>
                  <a:pt x="8640037" y="6483"/>
                  <a:pt x="8466064" y="18288"/>
                </a:cubicBezTo>
                <a:cubicBezTo>
                  <a:pt x="8292091" y="30093"/>
                  <a:pt x="7997656" y="18914"/>
                  <a:pt x="7787693" y="18288"/>
                </a:cubicBezTo>
                <a:cubicBezTo>
                  <a:pt x="7577730" y="17662"/>
                  <a:pt x="7412468" y="21416"/>
                  <a:pt x="7217862" y="18288"/>
                </a:cubicBezTo>
                <a:cubicBezTo>
                  <a:pt x="7023256" y="15160"/>
                  <a:pt x="6898018" y="14824"/>
                  <a:pt x="6648031" y="18288"/>
                </a:cubicBezTo>
                <a:cubicBezTo>
                  <a:pt x="6398044" y="21752"/>
                  <a:pt x="6254402" y="38625"/>
                  <a:pt x="6078200" y="18288"/>
                </a:cubicBezTo>
                <a:cubicBezTo>
                  <a:pt x="5901998" y="-2049"/>
                  <a:pt x="5622886" y="3213"/>
                  <a:pt x="5508368" y="18288"/>
                </a:cubicBezTo>
                <a:cubicBezTo>
                  <a:pt x="5393850" y="33363"/>
                  <a:pt x="5036260" y="26830"/>
                  <a:pt x="4721459" y="18288"/>
                </a:cubicBezTo>
                <a:cubicBezTo>
                  <a:pt x="4406658" y="9746"/>
                  <a:pt x="4239221" y="41551"/>
                  <a:pt x="4043088" y="18288"/>
                </a:cubicBezTo>
                <a:cubicBezTo>
                  <a:pt x="3846955" y="-4975"/>
                  <a:pt x="3818802" y="34658"/>
                  <a:pt x="3690336" y="18288"/>
                </a:cubicBezTo>
                <a:cubicBezTo>
                  <a:pt x="3561870" y="1918"/>
                  <a:pt x="3265491" y="42194"/>
                  <a:pt x="3120504" y="18288"/>
                </a:cubicBezTo>
                <a:cubicBezTo>
                  <a:pt x="2975517" y="-5618"/>
                  <a:pt x="2720254" y="36673"/>
                  <a:pt x="2333595" y="18288"/>
                </a:cubicBezTo>
                <a:cubicBezTo>
                  <a:pt x="1946936" y="-97"/>
                  <a:pt x="2097241" y="5776"/>
                  <a:pt x="1872303" y="18288"/>
                </a:cubicBezTo>
                <a:cubicBezTo>
                  <a:pt x="1647365" y="30800"/>
                  <a:pt x="1282708" y="45380"/>
                  <a:pt x="976854" y="18288"/>
                </a:cubicBezTo>
                <a:cubicBezTo>
                  <a:pt x="671000" y="-8804"/>
                  <a:pt x="408401" y="-12775"/>
                  <a:pt x="0" y="18288"/>
                </a:cubicBezTo>
                <a:cubicBezTo>
                  <a:pt x="-213" y="9468"/>
                  <a:pt x="187" y="4459"/>
                  <a:pt x="0" y="0"/>
                </a:cubicBezTo>
                <a:close/>
              </a:path>
              <a:path w="10853928" h="18288" stroke="0" extrusionOk="0">
                <a:moveTo>
                  <a:pt x="0" y="0"/>
                </a:moveTo>
                <a:cubicBezTo>
                  <a:pt x="267322" y="15284"/>
                  <a:pt x="415388" y="-21048"/>
                  <a:pt x="569831" y="0"/>
                </a:cubicBezTo>
                <a:cubicBezTo>
                  <a:pt x="724274" y="21048"/>
                  <a:pt x="769333" y="-2353"/>
                  <a:pt x="922584" y="0"/>
                </a:cubicBezTo>
                <a:cubicBezTo>
                  <a:pt x="1075835" y="2353"/>
                  <a:pt x="1399490" y="-145"/>
                  <a:pt x="1818033" y="0"/>
                </a:cubicBezTo>
                <a:cubicBezTo>
                  <a:pt x="2236576" y="145"/>
                  <a:pt x="2145330" y="5482"/>
                  <a:pt x="2387864" y="0"/>
                </a:cubicBezTo>
                <a:cubicBezTo>
                  <a:pt x="2630398" y="-5482"/>
                  <a:pt x="2793207" y="18487"/>
                  <a:pt x="2957695" y="0"/>
                </a:cubicBezTo>
                <a:cubicBezTo>
                  <a:pt x="3122183" y="-18487"/>
                  <a:pt x="3579141" y="19003"/>
                  <a:pt x="3853144" y="0"/>
                </a:cubicBezTo>
                <a:cubicBezTo>
                  <a:pt x="4127147" y="-19003"/>
                  <a:pt x="4209857" y="12211"/>
                  <a:pt x="4314436" y="0"/>
                </a:cubicBezTo>
                <a:cubicBezTo>
                  <a:pt x="4419015" y="-12211"/>
                  <a:pt x="4762459" y="-17220"/>
                  <a:pt x="5209885" y="0"/>
                </a:cubicBezTo>
                <a:cubicBezTo>
                  <a:pt x="5657311" y="17220"/>
                  <a:pt x="5692663" y="-3290"/>
                  <a:pt x="6105335" y="0"/>
                </a:cubicBezTo>
                <a:cubicBezTo>
                  <a:pt x="6518007" y="3290"/>
                  <a:pt x="6455516" y="-5124"/>
                  <a:pt x="6783705" y="0"/>
                </a:cubicBezTo>
                <a:cubicBezTo>
                  <a:pt x="7111894" y="5124"/>
                  <a:pt x="7441941" y="-17829"/>
                  <a:pt x="7679154" y="0"/>
                </a:cubicBezTo>
                <a:cubicBezTo>
                  <a:pt x="7916367" y="17829"/>
                  <a:pt x="8102967" y="-24363"/>
                  <a:pt x="8248985" y="0"/>
                </a:cubicBezTo>
                <a:cubicBezTo>
                  <a:pt x="8395003" y="24363"/>
                  <a:pt x="8552393" y="25505"/>
                  <a:pt x="8818817" y="0"/>
                </a:cubicBezTo>
                <a:cubicBezTo>
                  <a:pt x="9085241" y="-25505"/>
                  <a:pt x="9411308" y="38000"/>
                  <a:pt x="9605726" y="0"/>
                </a:cubicBezTo>
                <a:cubicBezTo>
                  <a:pt x="9800144" y="-38000"/>
                  <a:pt x="10006468" y="-25741"/>
                  <a:pt x="10175558" y="0"/>
                </a:cubicBezTo>
                <a:cubicBezTo>
                  <a:pt x="10344648" y="25741"/>
                  <a:pt x="10696282" y="695"/>
                  <a:pt x="10853928" y="0"/>
                </a:cubicBezTo>
                <a:cubicBezTo>
                  <a:pt x="10853521" y="8690"/>
                  <a:pt x="10853774" y="14141"/>
                  <a:pt x="10853928" y="18288"/>
                </a:cubicBezTo>
                <a:cubicBezTo>
                  <a:pt x="10608124" y="24255"/>
                  <a:pt x="10343415" y="22307"/>
                  <a:pt x="10067018" y="18288"/>
                </a:cubicBezTo>
                <a:cubicBezTo>
                  <a:pt x="9790621" y="14270"/>
                  <a:pt x="9843266" y="3564"/>
                  <a:pt x="9714266" y="18288"/>
                </a:cubicBezTo>
                <a:cubicBezTo>
                  <a:pt x="9585266" y="33012"/>
                  <a:pt x="9379484" y="1875"/>
                  <a:pt x="9252974" y="18288"/>
                </a:cubicBezTo>
                <a:cubicBezTo>
                  <a:pt x="9126464" y="34701"/>
                  <a:pt x="8580678" y="-4904"/>
                  <a:pt x="8357525" y="18288"/>
                </a:cubicBezTo>
                <a:cubicBezTo>
                  <a:pt x="8134372" y="41480"/>
                  <a:pt x="7903199" y="26458"/>
                  <a:pt x="7679154" y="18288"/>
                </a:cubicBezTo>
                <a:cubicBezTo>
                  <a:pt x="7455109" y="10118"/>
                  <a:pt x="7435944" y="27109"/>
                  <a:pt x="7217862" y="18288"/>
                </a:cubicBezTo>
                <a:cubicBezTo>
                  <a:pt x="6999780" y="9467"/>
                  <a:pt x="6680409" y="18985"/>
                  <a:pt x="6539492" y="18288"/>
                </a:cubicBezTo>
                <a:cubicBezTo>
                  <a:pt x="6398575" y="17592"/>
                  <a:pt x="6312077" y="33018"/>
                  <a:pt x="6186739" y="18288"/>
                </a:cubicBezTo>
                <a:cubicBezTo>
                  <a:pt x="6061401" y="3558"/>
                  <a:pt x="5947033" y="12075"/>
                  <a:pt x="5833986" y="18288"/>
                </a:cubicBezTo>
                <a:cubicBezTo>
                  <a:pt x="5720939" y="24501"/>
                  <a:pt x="5482226" y="8586"/>
                  <a:pt x="5155616" y="18288"/>
                </a:cubicBezTo>
                <a:cubicBezTo>
                  <a:pt x="4829006" y="27991"/>
                  <a:pt x="4841274" y="29316"/>
                  <a:pt x="4694324" y="18288"/>
                </a:cubicBezTo>
                <a:cubicBezTo>
                  <a:pt x="4547374" y="7260"/>
                  <a:pt x="4077675" y="7013"/>
                  <a:pt x="3907414" y="18288"/>
                </a:cubicBezTo>
                <a:cubicBezTo>
                  <a:pt x="3737153" y="29564"/>
                  <a:pt x="3538393" y="21630"/>
                  <a:pt x="3446122" y="18288"/>
                </a:cubicBezTo>
                <a:cubicBezTo>
                  <a:pt x="3353851" y="14946"/>
                  <a:pt x="2990320" y="-8091"/>
                  <a:pt x="2659212" y="18288"/>
                </a:cubicBezTo>
                <a:cubicBezTo>
                  <a:pt x="2328104" y="44667"/>
                  <a:pt x="2427653" y="9607"/>
                  <a:pt x="2306460" y="18288"/>
                </a:cubicBezTo>
                <a:cubicBezTo>
                  <a:pt x="2185267" y="26969"/>
                  <a:pt x="1719763" y="3717"/>
                  <a:pt x="1519550" y="18288"/>
                </a:cubicBezTo>
                <a:cubicBezTo>
                  <a:pt x="1319337" y="32860"/>
                  <a:pt x="1167371" y="17040"/>
                  <a:pt x="1058258" y="18288"/>
                </a:cubicBezTo>
                <a:cubicBezTo>
                  <a:pt x="949145" y="19536"/>
                  <a:pt x="780234" y="31447"/>
                  <a:pt x="705505" y="18288"/>
                </a:cubicBezTo>
                <a:cubicBezTo>
                  <a:pt x="630776" y="5129"/>
                  <a:pt x="215796" y="30056"/>
                  <a:pt x="0" y="18288"/>
                </a:cubicBezTo>
                <a:cubicBezTo>
                  <a:pt x="-53" y="11301"/>
                  <a:pt x="-649" y="7756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n 9" descr="Logo de Fundación ONCE&#10;&#10;Logo de Fundación ONCE">
            <a:extLst>
              <a:ext uri="{FF2B5EF4-FFF2-40B4-BE49-F238E27FC236}">
                <a16:creationId xmlns:a16="http://schemas.microsoft.com/office/drawing/2014/main" id="{3256AD08-B940-4E1E-83EE-EC0A64AC1D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747" y="6242206"/>
            <a:ext cx="1154234" cy="3607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8006D8-2CC2-4E6F-A645-7C7859D9B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1329" y="6077745"/>
            <a:ext cx="1170310" cy="689690"/>
          </a:xfrm>
          <a:prstGeom prst="rect">
            <a:avLst/>
          </a:prstGeom>
        </p:spPr>
      </p:pic>
      <p:sp>
        <p:nvSpPr>
          <p:cNvPr id="13" name="Marcador de contenido 2">
            <a:extLst>
              <a:ext uri="{FF2B5EF4-FFF2-40B4-BE49-F238E27FC236}">
                <a16:creationId xmlns:a16="http://schemas.microsoft.com/office/drawing/2014/main" id="{BBD28F6B-A502-493F-9A24-CEDA654E31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9036" y="1807539"/>
            <a:ext cx="10683240" cy="4270206"/>
          </a:xfrm>
        </p:spPr>
        <p:txBody>
          <a:bodyPr anchor="ctr">
            <a:normAutofit/>
          </a:bodyPr>
          <a:lstStyle/>
          <a:p>
            <a:pPr lvl="1" algn="just"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Discapacidad </a:t>
            </a:r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reconocida (igual o superior al 33% e incapacidad permanente)</a:t>
            </a:r>
          </a:p>
          <a:p>
            <a:pPr marL="457200" lvl="1" indent="0" algn="just">
              <a:buClr>
                <a:srgbClr val="00B050"/>
              </a:buClr>
              <a:buSzPct val="150000"/>
              <a:buNone/>
            </a:pPr>
            <a:endParaRPr lang="es-E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Estar en situación de </a:t>
            </a:r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desempleo</a:t>
            </a: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inactividad </a:t>
            </a: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(no ocupado, no parado) o </a:t>
            </a:r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mejora de empleo, al inicio de la incorporación en el programa.</a:t>
            </a:r>
          </a:p>
          <a:p>
            <a:pPr lvl="1" algn="just"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endParaRPr lang="es-E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buClr>
                <a:srgbClr val="00B050"/>
              </a:buClr>
              <a:buSzPct val="150000"/>
              <a:buFont typeface="Wingdings" panose="05000000000000000000" pitchFamily="2" charset="2"/>
              <a:buChar char="ü"/>
            </a:pPr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Nacionalidad española / UE o permiso de residencia en vigor.</a:t>
            </a:r>
            <a:endParaRPr lang="es-E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56692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orizontal_text_frames_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orizontal_text_frames_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orizontal_text_frames_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orizontal_text_frames_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Horizontal_text_frames_5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96</TotalTime>
  <Words>2115</Words>
  <Application>Microsoft Office PowerPoint</Application>
  <PresentationFormat>Widescreen</PresentationFormat>
  <Paragraphs>263</Paragraphs>
  <Slides>26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1" baseType="lpstr">
      <vt:lpstr>Arial</vt:lpstr>
      <vt:lpstr>Calibri</vt:lpstr>
      <vt:lpstr>Calibri Light</vt:lpstr>
      <vt:lpstr>Wingdings</vt:lpstr>
      <vt:lpstr>Tema de Office</vt:lpstr>
      <vt:lpstr>Convocatorias POISES Movimiento Asociativo (FSE)</vt:lpstr>
      <vt:lpstr>Antecedentes</vt:lpstr>
      <vt:lpstr>Dos convocatorias</vt:lpstr>
      <vt:lpstr>Objetivos</vt:lpstr>
      <vt:lpstr>PowerPoint Presentation</vt:lpstr>
      <vt:lpstr>Convocatoria itinerarios personalizados de empleo</vt:lpstr>
      <vt:lpstr>Dotación financiera</vt:lpstr>
      <vt:lpstr>Entidades que pueden presentarse</vt:lpstr>
      <vt:lpstr>Requisitos de los participantes</vt:lpstr>
      <vt:lpstr>Requisitos de las operaciones</vt:lpstr>
      <vt:lpstr>Fases: itinerarios personalizados de empleo</vt:lpstr>
      <vt:lpstr>Fases: itinerarios personalizados rurales y empleo con apoyo</vt:lpstr>
      <vt:lpstr>Aportaciones económicas (1/3)</vt:lpstr>
      <vt:lpstr>Aportaciones económicas (2/3)</vt:lpstr>
      <vt:lpstr>Aportaciones económicas (3/3)</vt:lpstr>
      <vt:lpstr>Plazos</vt:lpstr>
      <vt:lpstr>PowerPoint Presentation</vt:lpstr>
      <vt:lpstr>Convocatoria acciones formativas</vt:lpstr>
      <vt:lpstr>Dotación financiera</vt:lpstr>
      <vt:lpstr>Entidades que pueden presentarse</vt:lpstr>
      <vt:lpstr>Requisitos de los participantes</vt:lpstr>
      <vt:lpstr>Requisitos de las operaciones</vt:lpstr>
      <vt:lpstr>Requisitos de las tipologías de formación</vt:lpstr>
      <vt:lpstr>Aportaciones económicas</vt:lpstr>
      <vt:lpstr>Plazo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 IMPACTO DE LA REFORMA LABORAL EN EL TERCER SECTOR</dc:title>
  <dc:creator>Pérez Morales, Juan José</dc:creator>
  <cp:lastModifiedBy>KPMG</cp:lastModifiedBy>
  <cp:revision>20</cp:revision>
  <dcterms:created xsi:type="dcterms:W3CDTF">2022-07-01T05:50:13Z</dcterms:created>
  <dcterms:modified xsi:type="dcterms:W3CDTF">2022-11-21T17:4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958723a-5915-4af3-b4cd-4da9a9655e8a_Enabled">
    <vt:lpwstr>true</vt:lpwstr>
  </property>
  <property fmtid="{D5CDD505-2E9C-101B-9397-08002B2CF9AE}" pid="3" name="MSIP_Label_d958723a-5915-4af3-b4cd-4da9a9655e8a_SetDate">
    <vt:lpwstr>2022-07-01T06:36:37Z</vt:lpwstr>
  </property>
  <property fmtid="{D5CDD505-2E9C-101B-9397-08002B2CF9AE}" pid="4" name="MSIP_Label_d958723a-5915-4af3-b4cd-4da9a9655e8a_Method">
    <vt:lpwstr>Standard</vt:lpwstr>
  </property>
  <property fmtid="{D5CDD505-2E9C-101B-9397-08002B2CF9AE}" pid="5" name="MSIP_Label_d958723a-5915-4af3-b4cd-4da9a9655e8a_Name">
    <vt:lpwstr>d958723a-5915-4af3-b4cd-4da9a9655e8a</vt:lpwstr>
  </property>
  <property fmtid="{D5CDD505-2E9C-101B-9397-08002B2CF9AE}" pid="6" name="MSIP_Label_d958723a-5915-4af3-b4cd-4da9a9655e8a_SiteId">
    <vt:lpwstr>bab5b22c-d82b-452e-9cad-04f9708f4bbd</vt:lpwstr>
  </property>
  <property fmtid="{D5CDD505-2E9C-101B-9397-08002B2CF9AE}" pid="7" name="MSIP_Label_d958723a-5915-4af3-b4cd-4da9a9655e8a_ActionId">
    <vt:lpwstr>89226e03-0ea7-484f-bda2-076fedd9d6b1</vt:lpwstr>
  </property>
  <property fmtid="{D5CDD505-2E9C-101B-9397-08002B2CF9AE}" pid="8" name="MSIP_Label_d958723a-5915-4af3-b4cd-4da9a9655e8a_ContentBits">
    <vt:lpwstr>2</vt:lpwstr>
  </property>
</Properties>
</file>